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3.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37" r:id="rId5"/>
  </p:sldMasterIdLst>
  <p:notesMasterIdLst>
    <p:notesMasterId r:id="rId60"/>
  </p:notesMasterIdLst>
  <p:sldIdLst>
    <p:sldId id="2147482920" r:id="rId6"/>
    <p:sldId id="2147482921" r:id="rId7"/>
    <p:sldId id="2128752379" r:id="rId8"/>
    <p:sldId id="2128752376" r:id="rId9"/>
    <p:sldId id="2147481899" r:id="rId10"/>
    <p:sldId id="2147481903" r:id="rId11"/>
    <p:sldId id="2147481902" r:id="rId12"/>
    <p:sldId id="2147483450" r:id="rId13"/>
    <p:sldId id="2147483573" r:id="rId14"/>
    <p:sldId id="2147481905" r:id="rId15"/>
    <p:sldId id="2147482919" r:id="rId16"/>
    <p:sldId id="2147483451" r:id="rId17"/>
    <p:sldId id="2147483438" r:id="rId18"/>
    <p:sldId id="2147482935" r:id="rId19"/>
    <p:sldId id="2147483453" r:id="rId20"/>
    <p:sldId id="2147482924" r:id="rId21"/>
    <p:sldId id="2147474651" r:id="rId22"/>
    <p:sldId id="2147483449" r:id="rId23"/>
    <p:sldId id="2147483582" r:id="rId24"/>
    <p:sldId id="2147483583" r:id="rId25"/>
    <p:sldId id="2147483585" r:id="rId26"/>
    <p:sldId id="2147483584" r:id="rId27"/>
    <p:sldId id="2147481891" r:id="rId28"/>
    <p:sldId id="2147481304" r:id="rId29"/>
    <p:sldId id="2147483631" r:id="rId30"/>
    <p:sldId id="2147481911" r:id="rId31"/>
    <p:sldId id="2147482925" r:id="rId32"/>
    <p:sldId id="2147483454" r:id="rId33"/>
    <p:sldId id="2147483436" r:id="rId34"/>
    <p:sldId id="2147481887" r:id="rId35"/>
    <p:sldId id="2147482928" r:id="rId36"/>
    <p:sldId id="2147481915" r:id="rId37"/>
    <p:sldId id="2147481916" r:id="rId38"/>
    <p:sldId id="2147482937" r:id="rId39"/>
    <p:sldId id="2147482938" r:id="rId40"/>
    <p:sldId id="2147481921" r:id="rId41"/>
    <p:sldId id="2147483580" r:id="rId42"/>
    <p:sldId id="2147483097" r:id="rId43"/>
    <p:sldId id="2147482929" r:id="rId44"/>
    <p:sldId id="2147481918" r:id="rId45"/>
    <p:sldId id="2147483440" r:id="rId46"/>
    <p:sldId id="2147483464" r:id="rId47"/>
    <p:sldId id="2147483465" r:id="rId48"/>
    <p:sldId id="2147483444" r:id="rId49"/>
    <p:sldId id="2147483461" r:id="rId50"/>
    <p:sldId id="2147483462" r:id="rId51"/>
    <p:sldId id="2147483439" r:id="rId52"/>
    <p:sldId id="2147483443" r:id="rId53"/>
    <p:sldId id="2147481894" r:id="rId54"/>
    <p:sldId id="2147483441" r:id="rId55"/>
    <p:sldId id="2147483458" r:id="rId56"/>
    <p:sldId id="2147483457" r:id="rId57"/>
    <p:sldId id="2147483442" r:id="rId58"/>
    <p:sldId id="2147483581" r:id="rId59"/>
  </p:sldIdLst>
  <p:sldSz cx="12192000" cy="6858000"/>
  <p:notesSz cx="6797675" cy="9872663"/>
  <p:custDataLst>
    <p:tags r:id="rId61"/>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147482920"/>
            <p14:sldId id="2147482921"/>
            <p14:sldId id="2128752379"/>
            <p14:sldId id="2128752376"/>
            <p14:sldId id="2147481899"/>
            <p14:sldId id="2147481903"/>
            <p14:sldId id="2147481902"/>
            <p14:sldId id="2147483450"/>
            <p14:sldId id="2147483573"/>
            <p14:sldId id="2147481905"/>
            <p14:sldId id="2147482919"/>
            <p14:sldId id="2147483451"/>
            <p14:sldId id="2147483438"/>
            <p14:sldId id="2147482935"/>
            <p14:sldId id="2147483453"/>
            <p14:sldId id="2147482924"/>
            <p14:sldId id="2147474651"/>
            <p14:sldId id="2147483449"/>
            <p14:sldId id="2147483582"/>
            <p14:sldId id="2147483583"/>
            <p14:sldId id="2147483585"/>
            <p14:sldId id="2147483584"/>
            <p14:sldId id="2147481891"/>
            <p14:sldId id="2147481304"/>
            <p14:sldId id="2147483631"/>
            <p14:sldId id="2147481911"/>
            <p14:sldId id="2147482925"/>
            <p14:sldId id="2147483454"/>
            <p14:sldId id="2147483436"/>
            <p14:sldId id="2147481887"/>
            <p14:sldId id="2147482928"/>
            <p14:sldId id="2147481915"/>
            <p14:sldId id="2147481916"/>
            <p14:sldId id="2147482937"/>
            <p14:sldId id="2147482938"/>
            <p14:sldId id="2147481921"/>
            <p14:sldId id="2147483580"/>
            <p14:sldId id="2147483097"/>
            <p14:sldId id="2147482929"/>
            <p14:sldId id="2147481918"/>
            <p14:sldId id="2147483440"/>
            <p14:sldId id="2147483464"/>
            <p14:sldId id="2147483465"/>
            <p14:sldId id="2147483444"/>
            <p14:sldId id="2147483461"/>
            <p14:sldId id="2147483462"/>
            <p14:sldId id="2147483439"/>
            <p14:sldId id="2147483443"/>
            <p14:sldId id="2147481894"/>
            <p14:sldId id="2147483441"/>
            <p14:sldId id="2147483458"/>
            <p14:sldId id="2147483457"/>
            <p14:sldId id="2147483442"/>
            <p14:sldId id="2147483581"/>
          </p14:sldIdLst>
        </p14:section>
        <p14:section name="Templates" id="{3ABD5D4D-2C0C-449C-A140-446C246F69B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8CEB01-E8FF-EA7F-A37C-5A7B9BF3D68A}" name="Sebastian Byskov Jensen" initials="SBJ" userId="S::sbjensen@Nilfisk.com::3627f06f-3224-4433-a481-d48ba3e130a2" providerId="AD"/>
  <p188:author id="{CCE1D22A-4564-FEA0-066D-AE80ED435C8C}" name="Line Skovbjerg" initials="LS" userId="S::lskovbjerg@Nilfisk.com::bd8d82be-b2a3-4297-892b-01dc5ddd9e5a" providerId="AD"/>
  <p188:author id="{56045679-34C5-7D29-8C63-60E8645692A4}" name="Sebastian Byskov Jensen" initials="SJ" userId="S::sbjensen@nilfisk.com::3627f06f-3224-4433-a481-d48ba3e130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997A4"/>
    <a:srgbClr val="FF15CD"/>
    <a:srgbClr val="38AFD9"/>
    <a:srgbClr val="7C878E"/>
    <a:srgbClr val="979797"/>
    <a:srgbClr val="4B4F54"/>
    <a:srgbClr val="606A70"/>
    <a:srgbClr val="D4CFBE"/>
    <a:srgbClr val="8282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12" autoAdjust="0"/>
    <p:restoredTop sz="94660"/>
  </p:normalViewPr>
  <p:slideViewPr>
    <p:cSldViewPr snapToGrid="0">
      <p:cViewPr varScale="1">
        <p:scale>
          <a:sx n="93" d="100"/>
          <a:sy n="93" d="100"/>
        </p:scale>
        <p:origin x="1650" y="30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rián Bora" userId="87776703-78bb-46fb-aaa4-c405ef74930d" providerId="ADAL" clId="{77E85A37-FF2D-489C-8FF4-40A2BE47BD2A}"/>
    <pc:docChg chg="undo redo custSel delSld modSld modSection">
      <pc:chgData name="Adrián Bora" userId="87776703-78bb-46fb-aaa4-c405ef74930d" providerId="ADAL" clId="{77E85A37-FF2D-489C-8FF4-40A2BE47BD2A}" dt="2026-02-23T07:37:23.406" v="122" actId="20577"/>
      <pc:docMkLst>
        <pc:docMk/>
      </pc:docMkLst>
      <pc:sldChg chg="modSp del mod">
        <pc:chgData name="Adrián Bora" userId="87776703-78bb-46fb-aaa4-c405ef74930d" providerId="ADAL" clId="{77E85A37-FF2D-489C-8FF4-40A2BE47BD2A}" dt="2026-02-23T07:34:55.344" v="89" actId="47"/>
        <pc:sldMkLst>
          <pc:docMk/>
          <pc:sldMk cId="3999053361" sldId="2147473825"/>
        </pc:sldMkLst>
        <pc:spChg chg="mod">
          <ac:chgData name="Adrián Bora" userId="87776703-78bb-46fb-aaa4-c405ef74930d" providerId="ADAL" clId="{77E85A37-FF2D-489C-8FF4-40A2BE47BD2A}" dt="2026-02-23T07:34:46.850" v="87" actId="207"/>
          <ac:spMkLst>
            <pc:docMk/>
            <pc:sldMk cId="3999053361" sldId="2147473825"/>
            <ac:spMk id="6" creationId="{01C04845-96C2-C335-8EE6-78B3389F5427}"/>
          </ac:spMkLst>
        </pc:spChg>
      </pc:sldChg>
      <pc:sldChg chg="del">
        <pc:chgData name="Adrián Bora" userId="87776703-78bb-46fb-aaa4-c405ef74930d" providerId="ADAL" clId="{77E85A37-FF2D-489C-8FF4-40A2BE47BD2A}" dt="2026-02-23T07:34:56.566" v="90" actId="47"/>
        <pc:sldMkLst>
          <pc:docMk/>
          <pc:sldMk cId="2673333171" sldId="2147473845"/>
        </pc:sldMkLst>
      </pc:sldChg>
      <pc:sldChg chg="modSp mod">
        <pc:chgData name="Adrián Bora" userId="87776703-78bb-46fb-aaa4-c405ef74930d" providerId="ADAL" clId="{77E85A37-FF2D-489C-8FF4-40A2BE47BD2A}" dt="2026-02-23T07:37:23.406" v="122" actId="20577"/>
        <pc:sldMkLst>
          <pc:docMk/>
          <pc:sldMk cId="437465648" sldId="2147481894"/>
        </pc:sldMkLst>
        <pc:spChg chg="mod">
          <ac:chgData name="Adrián Bora" userId="87776703-78bb-46fb-aaa4-c405ef74930d" providerId="ADAL" clId="{77E85A37-FF2D-489C-8FF4-40A2BE47BD2A}" dt="2026-02-23T07:37:23.406" v="122" actId="20577"/>
          <ac:spMkLst>
            <pc:docMk/>
            <pc:sldMk cId="437465648" sldId="2147481894"/>
            <ac:spMk id="2" creationId="{890F0854-8200-5D3F-C97E-31FD1C480B76}"/>
          </ac:spMkLst>
        </pc:spChg>
      </pc:sldChg>
      <pc:sldChg chg="modSp mod">
        <pc:chgData name="Adrián Bora" userId="87776703-78bb-46fb-aaa4-c405ef74930d" providerId="ADAL" clId="{77E85A37-FF2D-489C-8FF4-40A2BE47BD2A}" dt="2026-02-23T07:36:56.650" v="111" actId="20577"/>
        <pc:sldMkLst>
          <pc:docMk/>
          <pc:sldMk cId="3912125996" sldId="2147481915"/>
        </pc:sldMkLst>
        <pc:spChg chg="mod">
          <ac:chgData name="Adrián Bora" userId="87776703-78bb-46fb-aaa4-c405ef74930d" providerId="ADAL" clId="{77E85A37-FF2D-489C-8FF4-40A2BE47BD2A}" dt="2026-02-23T07:36:56.650" v="111" actId="20577"/>
          <ac:spMkLst>
            <pc:docMk/>
            <pc:sldMk cId="3912125996" sldId="2147481915"/>
            <ac:spMk id="2" creationId="{890F0854-8200-5D3F-C97E-31FD1C480B76}"/>
          </ac:spMkLst>
        </pc:spChg>
      </pc:sldChg>
      <pc:sldChg chg="modSp mod">
        <pc:chgData name="Adrián Bora" userId="87776703-78bb-46fb-aaa4-c405ef74930d" providerId="ADAL" clId="{77E85A37-FF2D-489C-8FF4-40A2BE47BD2A}" dt="2026-02-23T07:37:13.745" v="118" actId="20577"/>
        <pc:sldMkLst>
          <pc:docMk/>
          <pc:sldMk cId="1038617174" sldId="2147481918"/>
        </pc:sldMkLst>
        <pc:spChg chg="mod">
          <ac:chgData name="Adrián Bora" userId="87776703-78bb-46fb-aaa4-c405ef74930d" providerId="ADAL" clId="{77E85A37-FF2D-489C-8FF4-40A2BE47BD2A}" dt="2026-02-23T07:37:13.745" v="118" actId="20577"/>
          <ac:spMkLst>
            <pc:docMk/>
            <pc:sldMk cId="1038617174" sldId="2147481918"/>
            <ac:spMk id="2" creationId="{890F0854-8200-5D3F-C97E-31FD1C480B76}"/>
          </ac:spMkLst>
        </pc:spChg>
      </pc:sldChg>
      <pc:sldChg chg="modSp mod">
        <pc:chgData name="Adrián Bora" userId="87776703-78bb-46fb-aaa4-c405ef74930d" providerId="ADAL" clId="{77E85A37-FF2D-489C-8FF4-40A2BE47BD2A}" dt="2026-02-23T07:37:08.299" v="115" actId="20577"/>
        <pc:sldMkLst>
          <pc:docMk/>
          <pc:sldMk cId="1626642359" sldId="2147481921"/>
        </pc:sldMkLst>
        <pc:spChg chg="mod">
          <ac:chgData name="Adrián Bora" userId="87776703-78bb-46fb-aaa4-c405ef74930d" providerId="ADAL" clId="{77E85A37-FF2D-489C-8FF4-40A2BE47BD2A}" dt="2026-02-23T07:37:08.299" v="115" actId="20577"/>
          <ac:spMkLst>
            <pc:docMk/>
            <pc:sldMk cId="1626642359" sldId="2147481921"/>
            <ac:spMk id="2" creationId="{890F0854-8200-5D3F-C97E-31FD1C480B76}"/>
          </ac:spMkLst>
        </pc:spChg>
      </pc:sldChg>
      <pc:sldChg chg="addSp delSp modSp mod">
        <pc:chgData name="Adrián Bora" userId="87776703-78bb-46fb-aaa4-c405ef74930d" providerId="ADAL" clId="{77E85A37-FF2D-489C-8FF4-40A2BE47BD2A}" dt="2026-02-23T07:36:28.681" v="107" actId="20577"/>
        <pc:sldMkLst>
          <pc:docMk/>
          <pc:sldMk cId="19406942" sldId="2147482921"/>
        </pc:sldMkLst>
        <pc:spChg chg="del">
          <ac:chgData name="Adrián Bora" userId="87776703-78bb-46fb-aaa4-c405ef74930d" providerId="ADAL" clId="{77E85A37-FF2D-489C-8FF4-40A2BE47BD2A}" dt="2026-02-23T07:35:43.011" v="96" actId="478"/>
          <ac:spMkLst>
            <pc:docMk/>
            <pc:sldMk cId="19406942" sldId="2147482921"/>
            <ac:spMk id="8" creationId="{630BC714-825A-BBF5-B818-490C3755B5F2}"/>
          </ac:spMkLst>
        </pc:spChg>
        <pc:spChg chg="del mod">
          <ac:chgData name="Adrián Bora" userId="87776703-78bb-46fb-aaa4-c405ef74930d" providerId="ADAL" clId="{77E85A37-FF2D-489C-8FF4-40A2BE47BD2A}" dt="2026-02-23T07:35:41.835" v="95" actId="478"/>
          <ac:spMkLst>
            <pc:docMk/>
            <pc:sldMk cId="19406942" sldId="2147482921"/>
            <ac:spMk id="14" creationId="{C26982BF-C50D-3468-B43D-04FD09206CA8}"/>
          </ac:spMkLst>
        </pc:spChg>
        <pc:spChg chg="mod">
          <ac:chgData name="Adrián Bora" userId="87776703-78bb-46fb-aaa4-c405ef74930d" providerId="ADAL" clId="{77E85A37-FF2D-489C-8FF4-40A2BE47BD2A}" dt="2026-02-23T07:35:56.964" v="99" actId="1076"/>
          <ac:spMkLst>
            <pc:docMk/>
            <pc:sldMk cId="19406942" sldId="2147482921"/>
            <ac:spMk id="15" creationId="{D77A2010-3C53-4BF4-E468-358A718ABEE0}"/>
          </ac:spMkLst>
        </pc:spChg>
        <pc:spChg chg="mod">
          <ac:chgData name="Adrián Bora" userId="87776703-78bb-46fb-aaa4-c405ef74930d" providerId="ADAL" clId="{77E85A37-FF2D-489C-8FF4-40A2BE47BD2A}" dt="2026-02-23T07:35:56.964" v="99" actId="1076"/>
          <ac:spMkLst>
            <pc:docMk/>
            <pc:sldMk cId="19406942" sldId="2147482921"/>
            <ac:spMk id="16" creationId="{E720AA66-6B52-0DCD-0E3F-2F9F4C12F326}"/>
          </ac:spMkLst>
        </pc:spChg>
        <pc:spChg chg="mod">
          <ac:chgData name="Adrián Bora" userId="87776703-78bb-46fb-aaa4-c405ef74930d" providerId="ADAL" clId="{77E85A37-FF2D-489C-8FF4-40A2BE47BD2A}" dt="2026-02-23T07:36:04.270" v="100" actId="1076"/>
          <ac:spMkLst>
            <pc:docMk/>
            <pc:sldMk cId="19406942" sldId="2147482921"/>
            <ac:spMk id="17" creationId="{0CD9E316-F913-645C-4E01-97214ECF1E17}"/>
          </ac:spMkLst>
        </pc:spChg>
        <pc:spChg chg="mod">
          <ac:chgData name="Adrián Bora" userId="87776703-78bb-46fb-aaa4-c405ef74930d" providerId="ADAL" clId="{77E85A37-FF2D-489C-8FF4-40A2BE47BD2A}" dt="2026-02-23T07:36:13.276" v="101" actId="1076"/>
          <ac:spMkLst>
            <pc:docMk/>
            <pc:sldMk cId="19406942" sldId="2147482921"/>
            <ac:spMk id="18" creationId="{DA5A0CA2-7CD4-53BC-9572-71664BAC72E0}"/>
          </ac:spMkLst>
        </pc:spChg>
        <pc:spChg chg="mod">
          <ac:chgData name="Adrián Bora" userId="87776703-78bb-46fb-aaa4-c405ef74930d" providerId="ADAL" clId="{77E85A37-FF2D-489C-8FF4-40A2BE47BD2A}" dt="2026-02-23T07:36:13.276" v="101" actId="1076"/>
          <ac:spMkLst>
            <pc:docMk/>
            <pc:sldMk cId="19406942" sldId="2147482921"/>
            <ac:spMk id="19" creationId="{EA5932F4-F9F4-6A20-E706-D1584F2B527C}"/>
          </ac:spMkLst>
        </pc:spChg>
        <pc:spChg chg="mod">
          <ac:chgData name="Adrián Bora" userId="87776703-78bb-46fb-aaa4-c405ef74930d" providerId="ADAL" clId="{77E85A37-FF2D-489C-8FF4-40A2BE47BD2A}" dt="2026-02-23T07:36:17.171" v="102" actId="20577"/>
          <ac:spMkLst>
            <pc:docMk/>
            <pc:sldMk cId="19406942" sldId="2147482921"/>
            <ac:spMk id="21" creationId="{5EA2BF0C-2477-BF12-615C-C1CEB774B32F}"/>
          </ac:spMkLst>
        </pc:spChg>
        <pc:spChg chg="mod">
          <ac:chgData name="Adrián Bora" userId="87776703-78bb-46fb-aaa4-c405ef74930d" providerId="ADAL" clId="{77E85A37-FF2D-489C-8FF4-40A2BE47BD2A}" dt="2026-02-23T07:36:20.377" v="103" actId="20577"/>
          <ac:spMkLst>
            <pc:docMk/>
            <pc:sldMk cId="19406942" sldId="2147482921"/>
            <ac:spMk id="22" creationId="{2E21AD07-667C-A9FF-BFA5-17CA00ABC9CF}"/>
          </ac:spMkLst>
        </pc:spChg>
        <pc:spChg chg="mod">
          <ac:chgData name="Adrián Bora" userId="87776703-78bb-46fb-aaa4-c405ef74930d" providerId="ADAL" clId="{77E85A37-FF2D-489C-8FF4-40A2BE47BD2A}" dt="2026-02-23T07:36:23.558" v="104" actId="20577"/>
          <ac:spMkLst>
            <pc:docMk/>
            <pc:sldMk cId="19406942" sldId="2147482921"/>
            <ac:spMk id="23" creationId="{E9642470-8D10-F8E5-0C3E-D5272C29C065}"/>
          </ac:spMkLst>
        </pc:spChg>
        <pc:spChg chg="mod">
          <ac:chgData name="Adrián Bora" userId="87776703-78bb-46fb-aaa4-c405ef74930d" providerId="ADAL" clId="{77E85A37-FF2D-489C-8FF4-40A2BE47BD2A}" dt="2026-02-23T07:36:26.261" v="105" actId="20577"/>
          <ac:spMkLst>
            <pc:docMk/>
            <pc:sldMk cId="19406942" sldId="2147482921"/>
            <ac:spMk id="24" creationId="{F010CE36-E391-8088-08D9-F0817F2582E6}"/>
          </ac:spMkLst>
        </pc:spChg>
        <pc:spChg chg="mod">
          <ac:chgData name="Adrián Bora" userId="87776703-78bb-46fb-aaa4-c405ef74930d" providerId="ADAL" clId="{77E85A37-FF2D-489C-8FF4-40A2BE47BD2A}" dt="2026-02-23T07:36:28.681" v="107" actId="20577"/>
          <ac:spMkLst>
            <pc:docMk/>
            <pc:sldMk cId="19406942" sldId="2147482921"/>
            <ac:spMk id="25" creationId="{FDFF7A7A-BBEE-499E-903F-2B1C03AAB839}"/>
          </ac:spMkLst>
        </pc:spChg>
        <pc:spChg chg="add del mod">
          <ac:chgData name="Adrián Bora" userId="87776703-78bb-46fb-aaa4-c405ef74930d" providerId="ADAL" clId="{77E85A37-FF2D-489C-8FF4-40A2BE47BD2A}" dt="2026-02-23T07:35:46.518" v="98" actId="478"/>
          <ac:spMkLst>
            <pc:docMk/>
            <pc:sldMk cId="19406942" sldId="2147482921"/>
            <ac:spMk id="26" creationId="{0327F8B7-6586-6DBA-4C99-1AB6434F069B}"/>
          </ac:spMkLst>
        </pc:spChg>
        <pc:spChg chg="add del mod">
          <ac:chgData name="Adrián Bora" userId="87776703-78bb-46fb-aaa4-c405ef74930d" providerId="ADAL" clId="{77E85A37-FF2D-489C-8FF4-40A2BE47BD2A}" dt="2026-02-23T07:35:44.287" v="97" actId="478"/>
          <ac:spMkLst>
            <pc:docMk/>
            <pc:sldMk cId="19406942" sldId="2147482921"/>
            <ac:spMk id="30" creationId="{5752CDFF-52BD-EFD3-5F00-8E35DCFDAEC2}"/>
          </ac:spMkLst>
        </pc:spChg>
      </pc:sldChg>
      <pc:sldChg chg="modSp mod">
        <pc:chgData name="Adrián Bora" userId="87776703-78bb-46fb-aaa4-c405ef74930d" providerId="ADAL" clId="{77E85A37-FF2D-489C-8FF4-40A2BE47BD2A}" dt="2026-02-23T07:37:02.083" v="113" actId="20577"/>
        <pc:sldMkLst>
          <pc:docMk/>
          <pc:sldMk cId="2124826900" sldId="2147482937"/>
        </pc:sldMkLst>
        <pc:spChg chg="mod">
          <ac:chgData name="Adrián Bora" userId="87776703-78bb-46fb-aaa4-c405ef74930d" providerId="ADAL" clId="{77E85A37-FF2D-489C-8FF4-40A2BE47BD2A}" dt="2026-02-23T07:37:02.083" v="113" actId="20577"/>
          <ac:spMkLst>
            <pc:docMk/>
            <pc:sldMk cId="2124826900" sldId="2147482937"/>
            <ac:spMk id="2" creationId="{4A6E647D-1EAE-D6BC-482D-061242607B15}"/>
          </ac:spMkLst>
        </pc:spChg>
      </pc:sldChg>
      <pc:sldChg chg="del">
        <pc:chgData name="Adrián Bora" userId="87776703-78bb-46fb-aaa4-c405ef74930d" providerId="ADAL" clId="{77E85A37-FF2D-489C-8FF4-40A2BE47BD2A}" dt="2026-02-23T07:34:58.054" v="92" actId="47"/>
        <pc:sldMkLst>
          <pc:docMk/>
          <pc:sldMk cId="3008752762" sldId="2147483468"/>
        </pc:sldMkLst>
      </pc:sldChg>
      <pc:sldChg chg="del">
        <pc:chgData name="Adrián Bora" userId="87776703-78bb-46fb-aaa4-c405ef74930d" providerId="ADAL" clId="{77E85A37-FF2D-489C-8FF4-40A2BE47BD2A}" dt="2026-02-23T07:34:57.357" v="91" actId="47"/>
        <pc:sldMkLst>
          <pc:docMk/>
          <pc:sldMk cId="2764561427" sldId="2147483469"/>
        </pc:sldMkLst>
      </pc:sldChg>
      <pc:sldChg chg="modSp del mod">
        <pc:chgData name="Adrián Bora" userId="87776703-78bb-46fb-aaa4-c405ef74930d" providerId="ADAL" clId="{77E85A37-FF2D-489C-8FF4-40A2BE47BD2A}" dt="2026-02-23T07:34:54.083" v="88" actId="47"/>
        <pc:sldMkLst>
          <pc:docMk/>
          <pc:sldMk cId="2134583996" sldId="214748363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nilfisk-my.sharepoint.com/personal/ahagbarth_nilfisk_com/Documents/DESKTOP/Projects/MH%203-8/fuel%20sav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nilfisk-my.sharepoint.com/personal/ahagbarth_nilfisk_com/Documents/DESKTOP/Projects/MH%203-8/fuel%20savin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noProof="0" dirty="0">
                <a:solidFill>
                  <a:schemeClr val="tx1"/>
                </a:solidFill>
              </a:rPr>
              <a:t>Old vs New MH</a:t>
            </a:r>
            <a:r>
              <a:rPr lang="en-GB" sz="1400" baseline="0" noProof="0" dirty="0">
                <a:solidFill>
                  <a:schemeClr val="tx1"/>
                </a:solidFill>
              </a:rPr>
              <a:t> – Black Diesel</a:t>
            </a:r>
            <a:endParaRPr lang="en-GB" sz="1400" noProof="0"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barChart>
        <c:barDir val="col"/>
        <c:grouping val="clustered"/>
        <c:varyColors val="0"/>
        <c:ser>
          <c:idx val="0"/>
          <c:order val="0"/>
          <c:tx>
            <c:strRef>
              <c:f>Sheet1!$G$7</c:f>
              <c:strCache>
                <c:ptCount val="1"/>
                <c:pt idx="0">
                  <c:v>EUR</c:v>
                </c:pt>
              </c:strCache>
            </c:strRef>
          </c:tx>
          <c:spPr>
            <a:solidFill>
              <a:schemeClr val="accent6"/>
            </a:solidFill>
            <a:ln>
              <a:noFill/>
            </a:ln>
            <a:effectLst/>
          </c:spPr>
          <c:invertIfNegative val="0"/>
          <c:cat>
            <c:strRef>
              <c:f>Sheet1!$F$8:$F$10</c:f>
              <c:strCache>
                <c:ptCount val="3"/>
                <c:pt idx="0">
                  <c:v>3 years</c:v>
                </c:pt>
                <c:pt idx="1">
                  <c:v>5 years</c:v>
                </c:pt>
                <c:pt idx="2">
                  <c:v>10 Years</c:v>
                </c:pt>
              </c:strCache>
            </c:strRef>
          </c:cat>
          <c:val>
            <c:numRef>
              <c:f>Sheet1!$G$8:$G$10</c:f>
              <c:numCache>
                <c:formatCode>0</c:formatCode>
                <c:ptCount val="3"/>
                <c:pt idx="0">
                  <c:v>1055.3004000000037</c:v>
                </c:pt>
                <c:pt idx="1">
                  <c:v>1758.8340000000062</c:v>
                </c:pt>
                <c:pt idx="2">
                  <c:v>3517.6680000000124</c:v>
                </c:pt>
              </c:numCache>
            </c:numRef>
          </c:val>
          <c:extLst>
            <c:ext xmlns:c16="http://schemas.microsoft.com/office/drawing/2014/chart" uri="{C3380CC4-5D6E-409C-BE32-E72D297353CC}">
              <c16:uniqueId val="{00000000-632B-492E-9281-CAB38892DE2E}"/>
            </c:ext>
          </c:extLst>
        </c:ser>
        <c:ser>
          <c:idx val="1"/>
          <c:order val="1"/>
          <c:tx>
            <c:strRef>
              <c:f>Sheet1!$H$7</c:f>
              <c:strCache>
                <c:ptCount val="1"/>
                <c:pt idx="0">
                  <c:v>Cost of machine</c:v>
                </c:pt>
              </c:strCache>
            </c:strRef>
          </c:tx>
          <c:spPr>
            <a:solidFill>
              <a:schemeClr val="accent5"/>
            </a:solidFill>
            <a:ln>
              <a:noFill/>
            </a:ln>
            <a:effectLst/>
          </c:spPr>
          <c:invertIfNegative val="0"/>
          <c:cat>
            <c:strRef>
              <c:f>Sheet1!$F$8:$F$10</c:f>
              <c:strCache>
                <c:ptCount val="3"/>
                <c:pt idx="0">
                  <c:v>3 years</c:v>
                </c:pt>
                <c:pt idx="1">
                  <c:v>5 years</c:v>
                </c:pt>
                <c:pt idx="2">
                  <c:v>10 Years</c:v>
                </c:pt>
              </c:strCache>
            </c:strRef>
          </c:cat>
          <c:val>
            <c:numRef>
              <c:f>Sheet1!$H$8:$H$10</c:f>
              <c:numCache>
                <c:formatCode>General</c:formatCode>
                <c:ptCount val="3"/>
                <c:pt idx="0">
                  <c:v>4687</c:v>
                </c:pt>
                <c:pt idx="1">
                  <c:v>4687</c:v>
                </c:pt>
                <c:pt idx="2">
                  <c:v>4687</c:v>
                </c:pt>
              </c:numCache>
            </c:numRef>
          </c:val>
          <c:extLst>
            <c:ext xmlns:c16="http://schemas.microsoft.com/office/drawing/2014/chart" uri="{C3380CC4-5D6E-409C-BE32-E72D297353CC}">
              <c16:uniqueId val="{00000001-632B-492E-9281-CAB38892DE2E}"/>
            </c:ext>
          </c:extLst>
        </c:ser>
        <c:dLbls>
          <c:showLegendKey val="0"/>
          <c:showVal val="0"/>
          <c:showCatName val="0"/>
          <c:showSerName val="0"/>
          <c:showPercent val="0"/>
          <c:showBubbleSize val="0"/>
        </c:dLbls>
        <c:gapWidth val="182"/>
        <c:axId val="386440400"/>
        <c:axId val="386443280"/>
      </c:barChart>
      <c:barChart>
        <c:barDir val="col"/>
        <c:grouping val="stacked"/>
        <c:varyColors val="0"/>
        <c:ser>
          <c:idx val="2"/>
          <c:order val="2"/>
          <c:tx>
            <c:strRef>
              <c:f>Sheet1!$I$7</c:f>
              <c:strCache>
                <c:ptCount val="1"/>
                <c:pt idx="0">
                  <c:v>Machine cost covered by saving</c:v>
                </c:pt>
              </c:strCache>
            </c:strRef>
          </c:tx>
          <c:spPr>
            <a:solidFill>
              <a:schemeClr val="accent4"/>
            </a:solidFill>
            <a:ln>
              <a:noFill/>
            </a:ln>
            <a:effectLst/>
          </c:spPr>
          <c:invertIfNegative val="0"/>
          <c:dLbls>
            <c:dLbl>
              <c:idx val="0"/>
              <c:tx>
                <c:rich>
                  <a:bodyPr/>
                  <a:lstStyle/>
                  <a:p>
                    <a:fld id="{C8F03AE9-671F-4A77-97F7-678E04066460}" type="VALUE">
                      <a:rPr lang="en-US" b="1" baseline="0" smtClean="0">
                        <a:solidFill>
                          <a:schemeClr val="bg1"/>
                        </a:solidFill>
                        <a:latin typeface="+mj-lt"/>
                      </a:rPr>
                      <a:pPr/>
                      <a:t>[VALOR]</a:t>
                    </a:fld>
                    <a:endParaRPr lang="es-E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923-4979-A1D7-77CCEFFB9A65}"/>
                </c:ext>
              </c:extLst>
            </c:dLbl>
            <c:dLbl>
              <c:idx val="1"/>
              <c:tx>
                <c:rich>
                  <a:bodyPr/>
                  <a:lstStyle/>
                  <a:p>
                    <a:fld id="{C37DA707-EB0A-4DE2-9622-B53F68EB795B}" type="VALUE">
                      <a:rPr lang="en-US" b="1" baseline="0" smtClean="0">
                        <a:solidFill>
                          <a:schemeClr val="bg1"/>
                        </a:solidFill>
                        <a:latin typeface="+mj-lt"/>
                      </a:rPr>
                      <a:pPr/>
                      <a:t>[VALOR]</a:t>
                    </a:fld>
                    <a:endParaRPr lang="es-E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923-4979-A1D7-77CCEFFB9A65}"/>
                </c:ext>
              </c:extLst>
            </c:dLbl>
            <c:dLbl>
              <c:idx val="2"/>
              <c:tx>
                <c:rich>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fld id="{A44362C4-DD3F-4BFE-8C4D-2C39DBC34489}" type="VALUE">
                      <a:rPr lang="en-US" b="1" baseline="0" smtClean="0">
                        <a:solidFill>
                          <a:schemeClr val="bg1"/>
                        </a:solidFill>
                        <a:latin typeface="+mj-lt"/>
                      </a:rPr>
                      <a:pPr>
                        <a:defRPr/>
                      </a:pPr>
                      <a:t>[VALOR]</a:t>
                    </a:fld>
                    <a:endParaRPr lang="es-ES"/>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45019"/>
                        <a:gd name="adj2" fmla="val -41046"/>
                      </a:avLst>
                    </a:prstGeom>
                    <a:noFill/>
                    <a:ln>
                      <a:noFill/>
                    </a:ln>
                  </c15:spPr>
                  <c15:dlblFieldTable/>
                  <c15:showDataLabelsRange val="0"/>
                </c:ext>
                <c:ext xmlns:c16="http://schemas.microsoft.com/office/drawing/2014/chart" uri="{C3380CC4-5D6E-409C-BE32-E72D297353CC}">
                  <c16:uniqueId val="{00000000-0923-4979-A1D7-77CCEFFB9A65}"/>
                </c:ext>
              </c:extLst>
            </c:dLbl>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DK"/>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F$8:$F$10</c:f>
              <c:strCache>
                <c:ptCount val="3"/>
                <c:pt idx="0">
                  <c:v>3 years</c:v>
                </c:pt>
                <c:pt idx="1">
                  <c:v>5 years</c:v>
                </c:pt>
                <c:pt idx="2">
                  <c:v>10 Years</c:v>
                </c:pt>
              </c:strCache>
            </c:strRef>
          </c:cat>
          <c:val>
            <c:numRef>
              <c:f>Sheet1!$I$8:$I$10</c:f>
              <c:numCache>
                <c:formatCode>0%</c:formatCode>
                <c:ptCount val="3"/>
                <c:pt idx="0">
                  <c:v>0.22515476850864172</c:v>
                </c:pt>
                <c:pt idx="1">
                  <c:v>0.37525794751440283</c:v>
                </c:pt>
                <c:pt idx="2">
                  <c:v>0.75051589502880567</c:v>
                </c:pt>
              </c:numCache>
            </c:numRef>
          </c:val>
          <c:extLst>
            <c:ext xmlns:c16="http://schemas.microsoft.com/office/drawing/2014/chart" uri="{C3380CC4-5D6E-409C-BE32-E72D297353CC}">
              <c16:uniqueId val="{00000002-632B-492E-9281-CAB38892DE2E}"/>
            </c:ext>
          </c:extLst>
        </c:ser>
        <c:dLbls>
          <c:showLegendKey val="0"/>
          <c:showVal val="0"/>
          <c:showCatName val="0"/>
          <c:showSerName val="0"/>
          <c:showPercent val="0"/>
          <c:showBubbleSize val="0"/>
        </c:dLbls>
        <c:gapWidth val="182"/>
        <c:overlap val="100"/>
        <c:axId val="386516720"/>
        <c:axId val="386512400"/>
      </c:barChart>
      <c:catAx>
        <c:axId val="38644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86443280"/>
        <c:crosses val="autoZero"/>
        <c:auto val="1"/>
        <c:lblAlgn val="ctr"/>
        <c:lblOffset val="100"/>
        <c:noMultiLvlLbl val="0"/>
      </c:catAx>
      <c:valAx>
        <c:axId val="38644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86440400"/>
        <c:crosses val="autoZero"/>
        <c:crossBetween val="between"/>
      </c:valAx>
      <c:valAx>
        <c:axId val="38651240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86516720"/>
        <c:crosses val="max"/>
        <c:crossBetween val="between"/>
      </c:valAx>
      <c:catAx>
        <c:axId val="386516720"/>
        <c:scaling>
          <c:orientation val="minMax"/>
        </c:scaling>
        <c:delete val="1"/>
        <c:axPos val="b"/>
        <c:numFmt formatCode="General" sourceLinked="1"/>
        <c:majorTickMark val="out"/>
        <c:minorTickMark val="none"/>
        <c:tickLblPos val="nextTo"/>
        <c:crossAx val="3865124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legend>
    <c:plotVisOnly val="1"/>
    <c:dispBlanksAs val="gap"/>
    <c:showDLblsOverMax val="0"/>
  </c:chart>
  <c:spPr>
    <a:noFill/>
    <a:ln>
      <a:noFill/>
    </a:ln>
    <a:effectLst/>
  </c:spPr>
  <c:txPr>
    <a:bodyPr/>
    <a:lstStyle/>
    <a:p>
      <a:pPr>
        <a:defRPr/>
      </a:pPr>
      <a:endParaRPr lang="en-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noProof="0" dirty="0">
                <a:solidFill>
                  <a:schemeClr val="tx1"/>
                </a:solidFill>
              </a:rPr>
              <a:t>Old vs. New MH HVO Dies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clustered"/>
        <c:varyColors val="0"/>
        <c:ser>
          <c:idx val="0"/>
          <c:order val="0"/>
          <c:tx>
            <c:strRef>
              <c:f>Sheet1!$G$28</c:f>
              <c:strCache>
                <c:ptCount val="1"/>
                <c:pt idx="0">
                  <c:v>EUR</c:v>
                </c:pt>
              </c:strCache>
            </c:strRef>
          </c:tx>
          <c:spPr>
            <a:solidFill>
              <a:schemeClr val="accent6"/>
            </a:solidFill>
            <a:ln>
              <a:noFill/>
            </a:ln>
            <a:effectLst/>
          </c:spPr>
          <c:invertIfNegative val="0"/>
          <c:cat>
            <c:strRef>
              <c:f>Sheet1!$F$29:$F$31</c:f>
              <c:strCache>
                <c:ptCount val="3"/>
                <c:pt idx="0">
                  <c:v>3 years</c:v>
                </c:pt>
                <c:pt idx="1">
                  <c:v>5 years</c:v>
                </c:pt>
                <c:pt idx="2">
                  <c:v>10 Years</c:v>
                </c:pt>
              </c:strCache>
            </c:strRef>
          </c:cat>
          <c:val>
            <c:numRef>
              <c:f>Sheet1!$G$29:$G$31</c:f>
              <c:numCache>
                <c:formatCode>0</c:formatCode>
                <c:ptCount val="3"/>
                <c:pt idx="0">
                  <c:v>1145.9495838926196</c:v>
                </c:pt>
                <c:pt idx="1">
                  <c:v>1909.9159731543659</c:v>
                </c:pt>
                <c:pt idx="2">
                  <c:v>3819.8319463087319</c:v>
                </c:pt>
              </c:numCache>
            </c:numRef>
          </c:val>
          <c:extLst>
            <c:ext xmlns:c16="http://schemas.microsoft.com/office/drawing/2014/chart" uri="{C3380CC4-5D6E-409C-BE32-E72D297353CC}">
              <c16:uniqueId val="{00000000-DF3E-4424-A3D5-658179F28943}"/>
            </c:ext>
          </c:extLst>
        </c:ser>
        <c:ser>
          <c:idx val="1"/>
          <c:order val="1"/>
          <c:tx>
            <c:strRef>
              <c:f>Sheet1!$H$28</c:f>
              <c:strCache>
                <c:ptCount val="1"/>
                <c:pt idx="0">
                  <c:v>Cost of machine</c:v>
                </c:pt>
              </c:strCache>
            </c:strRef>
          </c:tx>
          <c:spPr>
            <a:solidFill>
              <a:schemeClr val="accent5"/>
            </a:solidFill>
            <a:ln>
              <a:noFill/>
            </a:ln>
            <a:effectLst/>
          </c:spPr>
          <c:invertIfNegative val="0"/>
          <c:cat>
            <c:strRef>
              <c:f>Sheet1!$F$29:$F$31</c:f>
              <c:strCache>
                <c:ptCount val="3"/>
                <c:pt idx="0">
                  <c:v>3 years</c:v>
                </c:pt>
                <c:pt idx="1">
                  <c:v>5 years</c:v>
                </c:pt>
                <c:pt idx="2">
                  <c:v>10 Years</c:v>
                </c:pt>
              </c:strCache>
            </c:strRef>
          </c:cat>
          <c:val>
            <c:numRef>
              <c:f>Sheet1!$H$29:$H$31</c:f>
              <c:numCache>
                <c:formatCode>General</c:formatCode>
                <c:ptCount val="3"/>
                <c:pt idx="0">
                  <c:v>4687</c:v>
                </c:pt>
                <c:pt idx="1">
                  <c:v>4687</c:v>
                </c:pt>
                <c:pt idx="2">
                  <c:v>4687</c:v>
                </c:pt>
              </c:numCache>
            </c:numRef>
          </c:val>
          <c:extLst>
            <c:ext xmlns:c16="http://schemas.microsoft.com/office/drawing/2014/chart" uri="{C3380CC4-5D6E-409C-BE32-E72D297353CC}">
              <c16:uniqueId val="{00000001-DF3E-4424-A3D5-658179F28943}"/>
            </c:ext>
          </c:extLst>
        </c:ser>
        <c:dLbls>
          <c:showLegendKey val="0"/>
          <c:showVal val="0"/>
          <c:showCatName val="0"/>
          <c:showSerName val="0"/>
          <c:showPercent val="0"/>
          <c:showBubbleSize val="0"/>
        </c:dLbls>
        <c:gapWidth val="219"/>
        <c:axId val="386490800"/>
        <c:axId val="386481680"/>
      </c:barChart>
      <c:barChart>
        <c:barDir val="col"/>
        <c:grouping val="clustered"/>
        <c:varyColors val="0"/>
        <c:ser>
          <c:idx val="2"/>
          <c:order val="2"/>
          <c:tx>
            <c:strRef>
              <c:f>Sheet1!$I$28</c:f>
              <c:strCache>
                <c:ptCount val="1"/>
                <c:pt idx="0">
                  <c:v>Machine cost covered by saving</c:v>
                </c:pt>
              </c:strCache>
            </c:strRef>
          </c:tx>
          <c:spPr>
            <a:solidFill>
              <a:schemeClr val="accent4"/>
            </a:solidFill>
            <a:ln>
              <a:noFill/>
            </a:ln>
            <a:effectLst/>
          </c:spPr>
          <c:invertIfNegative val="0"/>
          <c:dLbls>
            <c:dLbl>
              <c:idx val="0"/>
              <c:layout>
                <c:manualLayout>
                  <c:x val="-2.3061407261547287E-3"/>
                  <c:y val="0.13072049194429455"/>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fld id="{2072F217-09D8-410D-B203-6E2DCF51F938}" type="VALUE">
                      <a:rPr lang="en-US" b="1" baseline="0" smtClean="0">
                        <a:solidFill>
                          <a:schemeClr val="bg1"/>
                        </a:solidFill>
                        <a:latin typeface="+mj-lt"/>
                      </a:rPr>
                      <a:pPr>
                        <a:defRPr/>
                      </a:pPr>
                      <a:t>[VALOR]</a:t>
                    </a:fld>
                    <a:endParaRPr lang="es-ES"/>
                  </a:p>
                </c:rich>
              </c:tx>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2-DF3E-4424-A3D5-658179F28943}"/>
                </c:ext>
              </c:extLst>
            </c:dLbl>
            <c:dLbl>
              <c:idx val="1"/>
              <c:layout>
                <c:manualLayout>
                  <c:x val="0"/>
                  <c:y val="0.19794817351564589"/>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fld id="{239017A8-8763-4F82-A47D-A8C6E959B6C1}" type="VALUE">
                      <a:rPr lang="en-US" b="1" baseline="0" smtClean="0">
                        <a:solidFill>
                          <a:schemeClr val="bg1"/>
                        </a:solidFill>
                        <a:latin typeface="+mj-lt"/>
                      </a:rPr>
                      <a:pPr>
                        <a:defRPr/>
                      </a:pPr>
                      <a:t>[VALOR]</a:t>
                    </a:fld>
                    <a:endParaRPr lang="es-ES"/>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26502"/>
                        <a:gd name="adj2" fmla="val 49316"/>
                      </a:avLst>
                    </a:prstGeom>
                    <a:noFill/>
                    <a:ln>
                      <a:noFill/>
                    </a:ln>
                  </c15:spPr>
                  <c15:dlblFieldTable/>
                  <c15:showDataLabelsRange val="0"/>
                </c:ext>
                <c:ext xmlns:c16="http://schemas.microsoft.com/office/drawing/2014/chart" uri="{C3380CC4-5D6E-409C-BE32-E72D297353CC}">
                  <c16:uniqueId val="{00000003-DF3E-4424-A3D5-658179F28943}"/>
                </c:ext>
              </c:extLst>
            </c:dLbl>
            <c:dLbl>
              <c:idx val="2"/>
              <c:layout>
                <c:manualLayout>
                  <c:x val="0"/>
                  <c:y val="0.36601737744402474"/>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fld id="{E7146F96-5763-41D6-898F-CDD41AA79753}" type="VALUE">
                      <a:rPr lang="en-US" b="1" baseline="0" smtClean="0">
                        <a:solidFill>
                          <a:schemeClr val="bg1"/>
                        </a:solidFill>
                        <a:latin typeface="+mj-lt"/>
                      </a:rPr>
                      <a:pPr>
                        <a:defRPr/>
                      </a:pPr>
                      <a:t>[VALOR]</a:t>
                    </a:fld>
                    <a:endParaRPr lang="es-ES"/>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4724"/>
                        <a:gd name="adj2" fmla="val 49316"/>
                      </a:avLst>
                    </a:prstGeom>
                    <a:noFill/>
                    <a:ln>
                      <a:noFill/>
                    </a:ln>
                  </c15:spPr>
                  <c15:dlblFieldTable/>
                  <c15:showDataLabelsRange val="0"/>
                </c:ext>
                <c:ext xmlns:c16="http://schemas.microsoft.com/office/drawing/2014/chart" uri="{C3380CC4-5D6E-409C-BE32-E72D297353CC}">
                  <c16:uniqueId val="{00000004-DF3E-4424-A3D5-658179F28943}"/>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F$29:$F$31</c:f>
              <c:strCache>
                <c:ptCount val="3"/>
                <c:pt idx="0">
                  <c:v>3 years</c:v>
                </c:pt>
                <c:pt idx="1">
                  <c:v>5 years</c:v>
                </c:pt>
                <c:pt idx="2">
                  <c:v>10 Years</c:v>
                </c:pt>
              </c:strCache>
            </c:strRef>
          </c:cat>
          <c:val>
            <c:numRef>
              <c:f>Sheet1!$I$29:$I$31</c:f>
              <c:numCache>
                <c:formatCode>0%</c:formatCode>
                <c:ptCount val="3"/>
                <c:pt idx="0">
                  <c:v>0.24449532406499244</c:v>
                </c:pt>
                <c:pt idx="1">
                  <c:v>0.40749220677498738</c:v>
                </c:pt>
                <c:pt idx="2">
                  <c:v>0.81498441354997475</c:v>
                </c:pt>
              </c:numCache>
            </c:numRef>
          </c:val>
          <c:extLst>
            <c:ext xmlns:c16="http://schemas.microsoft.com/office/drawing/2014/chart" uri="{C3380CC4-5D6E-409C-BE32-E72D297353CC}">
              <c16:uniqueId val="{00000005-DF3E-4424-A3D5-658179F28943}"/>
            </c:ext>
          </c:extLst>
        </c:ser>
        <c:dLbls>
          <c:showLegendKey val="0"/>
          <c:showVal val="0"/>
          <c:showCatName val="0"/>
          <c:showSerName val="0"/>
          <c:showPercent val="0"/>
          <c:showBubbleSize val="0"/>
        </c:dLbls>
        <c:gapWidth val="219"/>
        <c:axId val="386537840"/>
        <c:axId val="386523920"/>
      </c:barChart>
      <c:catAx>
        <c:axId val="38649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DK"/>
          </a:p>
        </c:txPr>
        <c:crossAx val="386481680"/>
        <c:crosses val="autoZero"/>
        <c:auto val="1"/>
        <c:lblAlgn val="ctr"/>
        <c:lblOffset val="100"/>
        <c:noMultiLvlLbl val="0"/>
      </c:catAx>
      <c:valAx>
        <c:axId val="3864816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86490800"/>
        <c:crosses val="autoZero"/>
        <c:crossBetween val="between"/>
      </c:valAx>
      <c:valAx>
        <c:axId val="38652392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86537840"/>
        <c:crosses val="max"/>
        <c:crossBetween val="between"/>
      </c:valAx>
      <c:catAx>
        <c:axId val="386537840"/>
        <c:scaling>
          <c:orientation val="minMax"/>
        </c:scaling>
        <c:delete val="1"/>
        <c:axPos val="b"/>
        <c:numFmt formatCode="General" sourceLinked="1"/>
        <c:majorTickMark val="out"/>
        <c:minorTickMark val="none"/>
        <c:tickLblPos val="nextTo"/>
        <c:crossAx val="3865239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legend>
    <c:plotVisOnly val="1"/>
    <c:dispBlanksAs val="gap"/>
    <c:showDLblsOverMax val="0"/>
  </c:chart>
  <c:spPr>
    <a:noFill/>
    <a:ln>
      <a:noFill/>
    </a:ln>
    <a:effectLst/>
  </c:spPr>
  <c:txPr>
    <a:bodyPr/>
    <a:lstStyle/>
    <a:p>
      <a:pPr>
        <a:defRPr/>
      </a:pPr>
      <a:endParaRPr lang="en-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21069106669877E-2"/>
          <c:y val="0.11022272986864649"/>
          <c:w val="0.97495786178666022"/>
          <c:h val="0.77955454026270699"/>
        </c:manualLayout>
      </c:layout>
      <c:barChart>
        <c:barDir val="col"/>
        <c:grouping val="stacked"/>
        <c:varyColors val="0"/>
        <c:ser>
          <c:idx val="0"/>
          <c:order val="0"/>
          <c:spPr>
            <a:solidFill>
              <a:schemeClr val="accent2"/>
            </a:solidFill>
            <a:ln w="9525" cmpd="sng" algn="ctr">
              <a:noFill/>
              <a:prstDash val="solid"/>
            </a:ln>
          </c:spPr>
          <c:invertIfNegative val="0"/>
          <c:dPt>
            <c:idx val="2"/>
            <c:invertIfNegative val="0"/>
            <c:bubble3D val="0"/>
            <c:spPr>
              <a:solidFill>
                <a:schemeClr val="accent5"/>
              </a:solidFill>
              <a:ln w="9525" cmpd="sng" algn="ctr">
                <a:noFill/>
                <a:prstDash val="solid"/>
              </a:ln>
            </c:spPr>
            <c:extLst>
              <c:ext xmlns:c16="http://schemas.microsoft.com/office/drawing/2014/chart" uri="{C3380CC4-5D6E-409C-BE32-E72D297353CC}">
                <c16:uniqueId val="{00000000-B481-4EDD-A915-FB45483BD631}"/>
              </c:ext>
            </c:extLst>
          </c:dPt>
          <c:dPt>
            <c:idx val="5"/>
            <c:invertIfNegative val="0"/>
            <c:bubble3D val="0"/>
            <c:spPr>
              <a:solidFill>
                <a:schemeClr val="accent5"/>
              </a:solidFill>
              <a:ln w="9525" cmpd="sng" algn="ctr">
                <a:noFill/>
                <a:prstDash val="solid"/>
              </a:ln>
            </c:spPr>
            <c:extLst>
              <c:ext xmlns:c16="http://schemas.microsoft.com/office/drawing/2014/chart" uri="{C3380CC4-5D6E-409C-BE32-E72D297353CC}">
                <c16:uniqueId val="{00000001-B481-4EDD-A915-FB45483BD631}"/>
              </c:ext>
            </c:extLst>
          </c:dPt>
          <c:val>
            <c:numRef>
              <c:f>Sheet1!$A$1:$F$1</c:f>
              <c:numCache>
                <c:formatCode>General</c:formatCode>
                <c:ptCount val="6"/>
                <c:pt idx="0">
                  <c:v>0.71889999999999998</c:v>
                </c:pt>
                <c:pt idx="1">
                  <c:v>0.71889999999999998</c:v>
                </c:pt>
                <c:pt idx="2">
                  <c:v>3.2633701674000006</c:v>
                </c:pt>
                <c:pt idx="3">
                  <c:v>3.6134599999999999</c:v>
                </c:pt>
                <c:pt idx="4">
                  <c:v>3.6134599999999999</c:v>
                </c:pt>
                <c:pt idx="5">
                  <c:v>3.2633701674000006</c:v>
                </c:pt>
              </c:numCache>
            </c:numRef>
          </c:val>
          <c:extLst>
            <c:ext xmlns:c16="http://schemas.microsoft.com/office/drawing/2014/chart" uri="{C3380CC4-5D6E-409C-BE32-E72D297353CC}">
              <c16:uniqueId val="{00000004-B481-4EDD-A915-FB45483BD631}"/>
            </c:ext>
          </c:extLst>
        </c:ser>
        <c:ser>
          <c:idx val="1"/>
          <c:order val="1"/>
          <c:spPr>
            <a:solidFill>
              <a:schemeClr val="accent1"/>
            </a:solidFill>
            <a:ln w="9525" cmpd="sng" algn="ctr">
              <a:noFill/>
              <a:prstDash val="solid"/>
            </a:ln>
          </c:spPr>
          <c:invertIfNegative val="0"/>
          <c:dPt>
            <c:idx val="0"/>
            <c:invertIfNegative val="0"/>
            <c:bubble3D val="0"/>
            <c:spPr>
              <a:solidFill>
                <a:schemeClr val="accent3"/>
              </a:solidFill>
              <a:ln w="9525" cmpd="sng" algn="ctr">
                <a:noFill/>
                <a:prstDash val="solid"/>
              </a:ln>
            </c:spPr>
            <c:extLst>
              <c:ext xmlns:c16="http://schemas.microsoft.com/office/drawing/2014/chart" uri="{C3380CC4-5D6E-409C-BE32-E72D297353CC}">
                <c16:uniqueId val="{00000007-B481-4EDD-A915-FB45483BD631}"/>
              </c:ext>
            </c:extLst>
          </c:dPt>
          <c:dPt>
            <c:idx val="1"/>
            <c:invertIfNegative val="0"/>
            <c:bubble3D val="0"/>
            <c:spPr>
              <a:solidFill>
                <a:schemeClr val="accent3"/>
              </a:solidFill>
              <a:ln w="9525" cmpd="sng" algn="ctr">
                <a:noFill/>
                <a:prstDash val="solid"/>
              </a:ln>
            </c:spPr>
            <c:extLst>
              <c:ext xmlns:c16="http://schemas.microsoft.com/office/drawing/2014/chart" uri="{C3380CC4-5D6E-409C-BE32-E72D297353CC}">
                <c16:uniqueId val="{00000008-B481-4EDD-A915-FB45483BD631}"/>
              </c:ext>
            </c:extLst>
          </c:dPt>
          <c:dPt>
            <c:idx val="2"/>
            <c:invertIfNegative val="0"/>
            <c:bubble3D val="0"/>
            <c:spPr>
              <a:solidFill>
                <a:schemeClr val="accent2"/>
              </a:solidFill>
              <a:ln w="9525" cmpd="sng" algn="ctr">
                <a:noFill/>
                <a:prstDash val="solid"/>
              </a:ln>
            </c:spPr>
            <c:extLst>
              <c:ext xmlns:c16="http://schemas.microsoft.com/office/drawing/2014/chart" uri="{C3380CC4-5D6E-409C-BE32-E72D297353CC}">
                <c16:uniqueId val="{00000005-B481-4EDD-A915-FB45483BD631}"/>
              </c:ext>
            </c:extLst>
          </c:dPt>
          <c:dPt>
            <c:idx val="3"/>
            <c:invertIfNegative val="0"/>
            <c:bubble3D val="0"/>
            <c:spPr>
              <a:solidFill>
                <a:schemeClr val="accent3"/>
              </a:solidFill>
              <a:ln w="9525" cmpd="sng" algn="ctr">
                <a:noFill/>
                <a:prstDash val="solid"/>
              </a:ln>
            </c:spPr>
            <c:extLst>
              <c:ext xmlns:c16="http://schemas.microsoft.com/office/drawing/2014/chart" uri="{C3380CC4-5D6E-409C-BE32-E72D297353CC}">
                <c16:uniqueId val="{00000009-B481-4EDD-A915-FB45483BD631}"/>
              </c:ext>
            </c:extLst>
          </c:dPt>
          <c:dPt>
            <c:idx val="4"/>
            <c:invertIfNegative val="0"/>
            <c:bubble3D val="0"/>
            <c:spPr>
              <a:solidFill>
                <a:schemeClr val="accent3"/>
              </a:solidFill>
              <a:ln w="9525" cmpd="sng" algn="ctr">
                <a:noFill/>
                <a:prstDash val="solid"/>
              </a:ln>
            </c:spPr>
            <c:extLst>
              <c:ext xmlns:c16="http://schemas.microsoft.com/office/drawing/2014/chart" uri="{C3380CC4-5D6E-409C-BE32-E72D297353CC}">
                <c16:uniqueId val="{0000000A-B481-4EDD-A915-FB45483BD631}"/>
              </c:ext>
            </c:extLst>
          </c:dPt>
          <c:dPt>
            <c:idx val="5"/>
            <c:invertIfNegative val="0"/>
            <c:bubble3D val="0"/>
            <c:spPr>
              <a:solidFill>
                <a:schemeClr val="accent2"/>
              </a:solidFill>
              <a:ln w="9525" cmpd="sng" algn="ctr">
                <a:noFill/>
                <a:prstDash val="solid"/>
              </a:ln>
            </c:spPr>
            <c:extLst>
              <c:ext xmlns:c16="http://schemas.microsoft.com/office/drawing/2014/chart" uri="{C3380CC4-5D6E-409C-BE32-E72D297353CC}">
                <c16:uniqueId val="{00000006-B481-4EDD-A915-FB45483BD631}"/>
              </c:ext>
            </c:extLst>
          </c:dPt>
          <c:val>
            <c:numRef>
              <c:f>Sheet1!$A$2:$F$2</c:f>
              <c:numCache>
                <c:formatCode>General</c:formatCode>
                <c:ptCount val="6"/>
                <c:pt idx="0">
                  <c:v>18.73378122088949</c:v>
                </c:pt>
                <c:pt idx="1">
                  <c:v>18.038757937594486</c:v>
                </c:pt>
                <c:pt idx="2">
                  <c:v>0.71890000000000009</c:v>
                </c:pt>
                <c:pt idx="3">
                  <c:v>18.73378122088949</c:v>
                </c:pt>
                <c:pt idx="4">
                  <c:v>18.038757937594486</c:v>
                </c:pt>
                <c:pt idx="5">
                  <c:v>3.6134599999999999</c:v>
                </c:pt>
              </c:numCache>
            </c:numRef>
          </c:val>
          <c:extLst>
            <c:ext xmlns:c16="http://schemas.microsoft.com/office/drawing/2014/chart" uri="{C3380CC4-5D6E-409C-BE32-E72D297353CC}">
              <c16:uniqueId val="{0000000B-B481-4EDD-A915-FB45483BD631}"/>
            </c:ext>
          </c:extLst>
        </c:ser>
        <c:dLbls>
          <c:showLegendKey val="0"/>
          <c:showVal val="0"/>
          <c:showCatName val="0"/>
          <c:showSerName val="0"/>
          <c:showPercent val="0"/>
          <c:showBubbleSize val="0"/>
        </c:dLbls>
        <c:gapWidth val="80"/>
        <c:overlap val="100"/>
        <c:axId val="1840610208"/>
        <c:axId val="1"/>
      </c:barChart>
      <c:catAx>
        <c:axId val="18406102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34724122088949"/>
          <c:min val="0"/>
        </c:scaling>
        <c:delete val="0"/>
        <c:axPos val="l"/>
        <c:majorGridlines/>
        <c:numFmt formatCode="General" sourceLinked="1"/>
        <c:majorTickMark val="out"/>
        <c:minorTickMark val="none"/>
        <c:tickLblPos val="nextTo"/>
        <c:crossAx val="1840610208"/>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2/23/2026</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Nº›</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6</a:t>
            </a:fld>
            <a:endParaRPr lang="en-US"/>
          </a:p>
        </p:txBody>
      </p:sp>
    </p:spTree>
    <p:extLst>
      <p:ext uri="{BB962C8B-B14F-4D97-AF65-F5344CB8AC3E}">
        <p14:creationId xmlns:p14="http://schemas.microsoft.com/office/powerpoint/2010/main" val="3647165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7695F-8BDF-1CE0-6F2D-CD9733058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7FED62-C599-2ACA-2FA6-9D6DB232C8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266B2F-6199-A1BD-9ACC-D54A447AEA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D3050A-4896-4B1F-6C17-58DCCF9FC80A}"/>
              </a:ext>
            </a:extLst>
          </p:cNvPr>
          <p:cNvSpPr>
            <a:spLocks noGrp="1"/>
          </p:cNvSpPr>
          <p:nvPr>
            <p:ph type="sldNum" sz="quarter" idx="5"/>
          </p:nvPr>
        </p:nvSpPr>
        <p:spPr/>
        <p:txBody>
          <a:bodyPr/>
          <a:lstStyle/>
          <a:p>
            <a:fld id="{6054CEA7-A081-4B80-B0DE-E1334A21D67A}" type="slidenum">
              <a:rPr lang="en-US" smtClean="0"/>
              <a:t>8</a:t>
            </a:fld>
            <a:endParaRPr lang="en-US"/>
          </a:p>
        </p:txBody>
      </p:sp>
    </p:spTree>
    <p:extLst>
      <p:ext uri="{BB962C8B-B14F-4D97-AF65-F5344CB8AC3E}">
        <p14:creationId xmlns:p14="http://schemas.microsoft.com/office/powerpoint/2010/main" val="175390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7A7C9-B2E8-2EC8-9970-AAD76E9B2D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143818-6764-12ED-66E0-68BF7170C2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74D44D-834F-EDDA-258A-ABAB4E0B4F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8ECD5B-8D78-2A5A-F160-73A41C1F2F79}"/>
              </a:ext>
            </a:extLst>
          </p:cNvPr>
          <p:cNvSpPr>
            <a:spLocks noGrp="1"/>
          </p:cNvSpPr>
          <p:nvPr>
            <p:ph type="sldNum" sz="quarter" idx="5"/>
          </p:nvPr>
        </p:nvSpPr>
        <p:spPr/>
        <p:txBody>
          <a:bodyPr/>
          <a:lstStyle/>
          <a:p>
            <a:pPr marL="0" marR="0" lvl="0" indent="0" algn="r" defTabSz="1023967" rtl="0" eaLnBrk="1" fontAlgn="auto" latinLnBrk="0" hangingPunct="1">
              <a:lnSpc>
                <a:spcPct val="100000"/>
              </a:lnSpc>
              <a:spcBef>
                <a:spcPts val="0"/>
              </a:spcBef>
              <a:spcAft>
                <a:spcPts val="0"/>
              </a:spcAft>
              <a:buClrTx/>
              <a:buSzTx/>
              <a:buFontTx/>
              <a:buNone/>
              <a:tabLst/>
              <a:defRPr/>
            </a:pPr>
            <a:fld id="{6054CEA7-A081-4B80-B0DE-E1334A21D67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239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4400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02BD-2DAC-33C1-5CBC-6A2BE456F0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DA7E35-1E5B-846C-773A-EF2B8F4AB2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1F7B1E-92D1-F4BA-18EB-50E31F41C2E3}"/>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94531530-2096-2753-803E-D18B52632674}"/>
              </a:ext>
            </a:extLst>
          </p:cNvPr>
          <p:cNvSpPr>
            <a:spLocks noGrp="1"/>
          </p:cNvSpPr>
          <p:nvPr>
            <p:ph type="sldNum" sz="quarter" idx="5"/>
          </p:nvPr>
        </p:nvSpPr>
        <p:spPr/>
        <p:txBody>
          <a:bodyPr/>
          <a:lstStyle/>
          <a:p>
            <a:pPr marL="0" marR="0" lvl="0" indent="0" algn="r" defTabSz="1023967" rtl="0" eaLnBrk="1" fontAlgn="auto" latinLnBrk="0" hangingPunct="1">
              <a:lnSpc>
                <a:spcPct val="100000"/>
              </a:lnSpc>
              <a:spcBef>
                <a:spcPts val="0"/>
              </a:spcBef>
              <a:spcAft>
                <a:spcPts val="0"/>
              </a:spcAft>
              <a:buClrTx/>
              <a:buSzTx/>
              <a:buFontTx/>
              <a:buNone/>
              <a:tabLst/>
              <a:defRPr/>
            </a:pPr>
            <a:fld id="{6054CEA7-A081-4B80-B0DE-E1334A21D67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239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4452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6054CEA7-A081-4B80-B0DE-E1334A21D67A}" type="slidenum">
              <a:rPr lang="en-US" smtClean="0"/>
              <a:t>47</a:t>
            </a:fld>
            <a:endParaRPr lang="en-US"/>
          </a:p>
        </p:txBody>
      </p:sp>
    </p:spTree>
    <p:extLst>
      <p:ext uri="{BB962C8B-B14F-4D97-AF65-F5344CB8AC3E}">
        <p14:creationId xmlns:p14="http://schemas.microsoft.com/office/powerpoint/2010/main" val="1256733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50</a:t>
            </a:fld>
            <a:endParaRPr lang="en-US"/>
          </a:p>
        </p:txBody>
      </p:sp>
    </p:spTree>
    <p:extLst>
      <p:ext uri="{BB962C8B-B14F-4D97-AF65-F5344CB8AC3E}">
        <p14:creationId xmlns:p14="http://schemas.microsoft.com/office/powerpoint/2010/main" val="3988185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51</a:t>
            </a:fld>
            <a:endParaRPr lang="en-US"/>
          </a:p>
        </p:txBody>
      </p:sp>
    </p:spTree>
    <p:extLst>
      <p:ext uri="{BB962C8B-B14F-4D97-AF65-F5344CB8AC3E}">
        <p14:creationId xmlns:p14="http://schemas.microsoft.com/office/powerpoint/2010/main" val="1535321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0.emf"/><Relationship Id="rId4" Type="http://schemas.openxmlformats.org/officeDocument/2006/relationships/tags" Target="../tags/tag27.xml"/><Relationship Id="rId9"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Nº›</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Nº›</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º›</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Nº›</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Nº›</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23/2026</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Nº›</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23/2026</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Nº›</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3580924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23/2026</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23/2026</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13671433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9621171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23/2026</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21402847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23/2026</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8461792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24281487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23/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22164393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92957619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Nº›</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14626066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Nº›</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2304943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Nº›</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1609026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23/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º›</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575598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Nº›</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8002553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548033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669556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Nº›</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1642664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23/2026</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Nº›</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4429446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23/2026</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Nº›</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24668620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FED7D5-F5DD-4D0F-AA1A-BC64C29C598E}"/>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733DAAD1-0937-4AE7-86E3-9DA79673C6A8}"/>
              </a:ext>
            </a:extLst>
          </p:cNvPr>
          <p:cNvSpPr>
            <a:spLocks noGrp="1"/>
          </p:cNvSpPr>
          <p:nvPr>
            <p:ph type="sldNum" sz="quarter" idx="12"/>
          </p:nvPr>
        </p:nvSpPr>
        <p:spPr/>
        <p:txBody>
          <a:bodyPr/>
          <a:lstStyle/>
          <a:p>
            <a:fld id="{3754651F-7889-48DD-BA6E-FB81A74A0579}" type="slidenum">
              <a:rPr lang="da-DK" smtClean="0"/>
              <a:t>‹Nº›</a:t>
            </a:fld>
            <a:endParaRPr lang="da-DK"/>
          </a:p>
        </p:txBody>
      </p:sp>
      <p:sp>
        <p:nvSpPr>
          <p:cNvPr id="7" name="Title 6">
            <a:extLst>
              <a:ext uri="{FF2B5EF4-FFF2-40B4-BE49-F238E27FC236}">
                <a16:creationId xmlns:a16="http://schemas.microsoft.com/office/drawing/2014/main" id="{5934D1E4-26B5-4458-8940-93FE838E87CA}"/>
              </a:ext>
            </a:extLst>
          </p:cNvPr>
          <p:cNvSpPr>
            <a:spLocks noGrp="1"/>
          </p:cNvSpPr>
          <p:nvPr>
            <p:ph type="title" hasCustomPrompt="1"/>
          </p:nvPr>
        </p:nvSpPr>
        <p:spPr/>
        <p:txBody>
          <a:bodyPr/>
          <a:lstStyle>
            <a:lvl1pPr>
              <a:defRPr>
                <a:solidFill>
                  <a:schemeClr val="bg2"/>
                </a:solidFill>
              </a:defRPr>
            </a:lvl1pPr>
          </a:lstStyle>
          <a:p>
            <a:r>
              <a:rPr lang="en-US"/>
              <a:t>TITLE</a:t>
            </a:r>
            <a:endParaRPr lang="da-DK"/>
          </a:p>
        </p:txBody>
      </p:sp>
    </p:spTree>
    <p:extLst>
      <p:ext uri="{BB962C8B-B14F-4D97-AF65-F5344CB8AC3E}">
        <p14:creationId xmlns:p14="http://schemas.microsoft.com/office/powerpoint/2010/main" val="1763971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23 February 2026</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Nº›</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9203921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en-US" sz="2400" b="1">
              <a:solidFill>
                <a:srgbClr val="000000"/>
              </a:solidFill>
              <a:sym typeface="Arial" panose="020B0604020202020204" pitchFamily="34" charset="0"/>
            </a:endParaRPr>
          </a:p>
        </p:txBody>
      </p:sp>
      <p:sp>
        <p:nvSpPr>
          <p:cNvPr id="10" name="Date Placeholder 9"/>
          <p:cNvSpPr>
            <a:spLocks noGrp="1"/>
          </p:cNvSpPr>
          <p:nvPr>
            <p:ph type="dt" sz="half" idx="14"/>
          </p:nvPr>
        </p:nvSpPr>
        <p:spPr/>
        <p:txBody>
          <a:bodyPr/>
          <a:lstStyle/>
          <a:p>
            <a:fld id="{2C777379-BECC-46E3-9D1C-F248C61333FE}" type="datetime1">
              <a:rPr lang="en-US" smtClean="0">
                <a:solidFill>
                  <a:srgbClr val="7C878E"/>
                </a:solidFill>
              </a:rPr>
              <a:t>2/23/2026</a:t>
            </a:fld>
            <a:endParaRPr lang="en-US">
              <a:solidFill>
                <a:srgbClr val="7C878E"/>
              </a:solidFill>
            </a:endParaRPr>
          </a:p>
        </p:txBody>
      </p:sp>
      <p:sp>
        <p:nvSpPr>
          <p:cNvPr id="11" name="Footer Placeholder 10"/>
          <p:cNvSpPr>
            <a:spLocks noGrp="1"/>
          </p:cNvSpPr>
          <p:nvPr>
            <p:ph type="ftr" sz="quarter" idx="15"/>
          </p:nvPr>
        </p:nvSpPr>
        <p:spPr/>
        <p:txBody>
          <a:bodyPr/>
          <a:lstStyle/>
          <a:p>
            <a:r>
              <a:rPr lang="en-US">
                <a:solidFill>
                  <a:srgbClr val="7C878E"/>
                </a:solidFill>
              </a:rPr>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smtClean="0">
                <a:solidFill>
                  <a:srgbClr val="7C878E"/>
                </a:solidFill>
              </a:rPr>
              <a:pPr/>
              <a:t>‹Nº›</a:t>
            </a:fld>
            <a:endParaRPr lang="en-US">
              <a:solidFill>
                <a:srgbClr val="7C878E"/>
              </a:solidFill>
            </a:endParaRPr>
          </a:p>
        </p:txBody>
      </p:sp>
      <p:sp>
        <p:nvSpPr>
          <p:cNvPr id="14" name="Title 13"/>
          <p:cNvSpPr>
            <a:spLocks noGrp="1"/>
          </p:cNvSpPr>
          <p:nvPr>
            <p:ph type="title"/>
          </p:nvPr>
        </p:nvSpPr>
        <p:spPr>
          <a:xfrm>
            <a:off x="360000" y="680223"/>
            <a:ext cx="11470049" cy="486777"/>
          </a:xfrm>
        </p:spPr>
        <p:txBody>
          <a:bodyPr anchor="ctr"/>
          <a:lstStyle>
            <a:lvl1pPr>
              <a:defRPr>
                <a:solidFill>
                  <a:schemeClr val="tx1"/>
                </a:solidFill>
              </a:defRPr>
            </a:lvl1pPr>
          </a:lstStyle>
          <a:p>
            <a:r>
              <a:rPr lang="en-US" noProof="0"/>
              <a:t>Click to edit Master title style</a:t>
            </a:r>
          </a:p>
        </p:txBody>
      </p:sp>
      <p:sp>
        <p:nvSpPr>
          <p:cNvPr id="13" name="Content Placeholder 11"/>
          <p:cNvSpPr>
            <a:spLocks noGrp="1"/>
          </p:cNvSpPr>
          <p:nvPr>
            <p:ph sz="quarter" idx="13"/>
          </p:nvPr>
        </p:nvSpPr>
        <p:spPr>
          <a:xfrm>
            <a:off x="602166" y="299798"/>
            <a:ext cx="11317094" cy="270197"/>
          </a:xfrm>
        </p:spPr>
        <p:txBody>
          <a:bodyPr anchor="ctr"/>
          <a:lstStyle>
            <a:lvl1pPr marL="0" indent="0">
              <a:buNone/>
              <a:defRPr sz="14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61051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23/2026</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3914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9353563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11" name="Date Placeholder 10"/>
          <p:cNvSpPr>
            <a:spLocks noGrp="1"/>
          </p:cNvSpPr>
          <p:nvPr>
            <p:ph type="dt" sz="half" idx="15"/>
          </p:nvPr>
        </p:nvSpPr>
        <p:spPr/>
        <p:txBody>
          <a:bodyPr/>
          <a:lstStyle/>
          <a:p>
            <a:fld id="{4A2DB211-0B13-4B81-9EC6-AAEE08B7CACD}" type="datetime1">
              <a:rPr lang="en-US" noProof="0" smtClean="0"/>
              <a:t>2/23/2026</a:t>
            </a:fld>
            <a:endParaRPr lang="en-US" noProof="0"/>
          </a:p>
        </p:txBody>
      </p:sp>
      <p:sp>
        <p:nvSpPr>
          <p:cNvPr id="12" name="Footer Placeholder 11"/>
          <p:cNvSpPr>
            <a:spLocks noGrp="1"/>
          </p:cNvSpPr>
          <p:nvPr>
            <p:ph type="ftr" sz="quarter" idx="16"/>
          </p:nvPr>
        </p:nvSpPr>
        <p:spPr/>
        <p:txBody>
          <a:bodyPr/>
          <a:lstStyle/>
          <a:p>
            <a:r>
              <a:rPr lang="en-US" noProof="0"/>
              <a:t>COMPANY CONFIDENTIAL</a:t>
            </a:r>
          </a:p>
        </p:txBody>
      </p:sp>
      <p:sp>
        <p:nvSpPr>
          <p:cNvPr id="13" name="Slide Number Placeholder 12"/>
          <p:cNvSpPr>
            <a:spLocks noGrp="1"/>
          </p:cNvSpPr>
          <p:nvPr>
            <p:ph type="sldNum" sz="quarter" idx="17"/>
          </p:nvPr>
        </p:nvSpPr>
        <p:spPr/>
        <p:txBody>
          <a:bodyPr/>
          <a:lstStyle/>
          <a:p>
            <a:fld id="{6C385236-B7BA-4938-9EA6-6DEC8CA653D7}" type="slidenum">
              <a:rPr lang="en-US" noProof="0" smtClean="0"/>
              <a:pPr/>
              <a:t>‹Nº›</a:t>
            </a:fld>
            <a:endParaRPr lang="en-US" noProof="0"/>
          </a:p>
        </p:txBody>
      </p:sp>
      <p:sp>
        <p:nvSpPr>
          <p:cNvPr id="16" name="Content Placeholder 15"/>
          <p:cNvSpPr>
            <a:spLocks noGrp="1"/>
          </p:cNvSpPr>
          <p:nvPr>
            <p:ph sz="quarter" idx="18"/>
          </p:nvPr>
        </p:nvSpPr>
        <p:spPr>
          <a:xfrm>
            <a:off x="360000"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5"/>
          <p:cNvSpPr>
            <a:spLocks noGrp="1"/>
          </p:cNvSpPr>
          <p:nvPr>
            <p:ph sz="quarter" idx="19"/>
          </p:nvPr>
        </p:nvSpPr>
        <p:spPr>
          <a:xfrm>
            <a:off x="8151448"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itle 17"/>
          <p:cNvSpPr>
            <a:spLocks noGrp="1"/>
          </p:cNvSpPr>
          <p:nvPr>
            <p:ph type="title"/>
          </p:nvPr>
        </p:nvSpPr>
        <p:spPr/>
        <p:txBody>
          <a:bodyPr/>
          <a:lstStyle/>
          <a:p>
            <a:r>
              <a:rPr lang="en-US" noProof="0"/>
              <a:t>Click to edit Master title style</a:t>
            </a:r>
          </a:p>
        </p:txBody>
      </p:sp>
      <p:sp>
        <p:nvSpPr>
          <p:cNvPr id="8" name="Content Placeholder 15">
            <a:extLst>
              <a:ext uri="{FF2B5EF4-FFF2-40B4-BE49-F238E27FC236}">
                <a16:creationId xmlns:a16="http://schemas.microsoft.com/office/drawing/2014/main" id="{A11ADACD-4CA6-4021-9C9D-914DFA3C7E4A}"/>
              </a:ext>
            </a:extLst>
          </p:cNvPr>
          <p:cNvSpPr>
            <a:spLocks noGrp="1"/>
          </p:cNvSpPr>
          <p:nvPr>
            <p:ph sz="quarter" idx="20"/>
          </p:nvPr>
        </p:nvSpPr>
        <p:spPr>
          <a:xfrm>
            <a:off x="4252914"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032480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23/2026</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23/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Nº›</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Nº›</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23/2026</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Nº›</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oleObject" Target="../embeddings/oleObject6.bin"/><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1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2.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23/2026</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Nº›</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5"/>
            </p:custDataLst>
            <p:extLst>
              <p:ext uri="{D42A27DB-BD31-4B8C-83A1-F6EECF244321}">
                <p14:modId xmlns:p14="http://schemas.microsoft.com/office/powerpoint/2010/main" val="2035930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7" name="Object 6" hidden="1"/>
                      <p:cNvPicPr/>
                      <p:nvPr/>
                    </p:nvPicPr>
                    <p:blipFill>
                      <a:blip r:embed="rId27"/>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23/2026</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Nº›</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8"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96175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7" r:id="rId19"/>
    <p:sldLayoutId id="2147483759" r:id="rId20"/>
    <p:sldLayoutId id="2147483760" r:id="rId21"/>
    <p:sldLayoutId id="2147483761" r:id="rId22"/>
    <p:sldLayoutId id="2147483764" r:id="rId23"/>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02">
          <p15:clr>
            <a:srgbClr val="F26B43"/>
          </p15:clr>
        </p15:guide>
        <p15:guide id="4" orient="horz" pos="3952">
          <p15:clr>
            <a:srgbClr val="F26B43"/>
          </p15:clr>
        </p15:guide>
        <p15:guide id="5" pos="7378">
          <p15:clr>
            <a:srgbClr val="F26B43"/>
          </p15:clr>
        </p15:guide>
        <p15:guide id="10" orient="horz" pos="890">
          <p15:clr>
            <a:srgbClr val="F26B43"/>
          </p15:clr>
        </p15:guide>
        <p15:guide id="18" pos="1317">
          <p15:clr>
            <a:srgbClr val="A4A3A4"/>
          </p15:clr>
        </p15:guide>
        <p15:guide id="19" pos="1452">
          <p15:clr>
            <a:srgbClr val="A4A3A4"/>
          </p15:clr>
        </p15:guide>
        <p15:guide id="22" pos="2544">
          <p15:clr>
            <a:srgbClr val="A4A3A4"/>
          </p15:clr>
        </p15:guide>
        <p15:guide id="23" pos="2679">
          <p15:clr>
            <a:srgbClr val="A4A3A4"/>
          </p15:clr>
        </p15:guide>
        <p15:guide id="26" pos="3771">
          <p15:clr>
            <a:srgbClr val="A4A3A4"/>
          </p15:clr>
        </p15:guide>
        <p15:guide id="27" pos="3906">
          <p15:clr>
            <a:srgbClr val="A4A3A4"/>
          </p15:clr>
        </p15:guide>
        <p15:guide id="30" pos="4998">
          <p15:clr>
            <a:srgbClr val="A4A3A4"/>
          </p15:clr>
        </p15:guide>
        <p15:guide id="31" pos="5133">
          <p15:clr>
            <a:srgbClr val="A4A3A4"/>
          </p15:clr>
        </p15:guide>
        <p15:guide id="34" pos="6225">
          <p15:clr>
            <a:srgbClr val="A4A3A4"/>
          </p15:clr>
        </p15:guide>
        <p15:guide id="35" pos="636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0.bin"/><Relationship Id="rId7" Type="http://schemas.openxmlformats.org/officeDocument/2006/relationships/image" Target="../media/image30.png"/><Relationship Id="rId2" Type="http://schemas.openxmlformats.org/officeDocument/2006/relationships/slideLayout" Target="../slideLayouts/slideLayout41.xml"/><Relationship Id="rId1" Type="http://schemas.openxmlformats.org/officeDocument/2006/relationships/tags" Target="../tags/tag33.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emf"/><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png"/><Relationship Id="rId16" Type="http://schemas.openxmlformats.org/officeDocument/2006/relationships/image" Target="../media/image51.png"/><Relationship Id="rId1" Type="http://schemas.openxmlformats.org/officeDocument/2006/relationships/slideLayout" Target="../slideLayouts/slideLayout25.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8.png"/><Relationship Id="rId2" Type="http://schemas.openxmlformats.org/officeDocument/2006/relationships/slideLayout" Target="../slideLayouts/slideLayout34.xml"/><Relationship Id="rId1" Type="http://schemas.openxmlformats.org/officeDocument/2006/relationships/tags" Target="../tags/tag34.xml"/><Relationship Id="rId6" Type="http://schemas.openxmlformats.org/officeDocument/2006/relationships/image" Target="../media/image57.emf"/><Relationship Id="rId5" Type="http://schemas.openxmlformats.org/officeDocument/2006/relationships/oleObject" Target="../embeddings/oleObject11.bin"/><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7.xml"/><Relationship Id="rId7" Type="http://schemas.openxmlformats.org/officeDocument/2006/relationships/chart" Target="../charts/char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9.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21" Type="http://schemas.openxmlformats.org/officeDocument/2006/relationships/tags" Target="../tags/tag57.xml"/><Relationship Id="rId34" Type="http://schemas.openxmlformats.org/officeDocument/2006/relationships/oleObject" Target="../embeddings/oleObject13.bin"/><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slideLayout" Target="../slideLayouts/slideLayout31.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image" Target="../media/image60.pn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chart" Target="../charts/chart3.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image" Target="../media/image59.emf"/><Relationship Id="rId8" Type="http://schemas.openxmlformats.org/officeDocument/2006/relationships/tags" Target="../tags/tag44.xml"/><Relationship Id="rId3" Type="http://schemas.openxmlformats.org/officeDocument/2006/relationships/tags" Target="../tags/tag39.xml"/></Relationships>
</file>

<file path=ppt/slides/_rels/slide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63.jpeg"/><Relationship Id="rId1" Type="http://schemas.openxmlformats.org/officeDocument/2006/relationships/slideLayout" Target="../slideLayouts/slideLayout2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1.xml"/><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3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31.xml"/><Relationship Id="rId5" Type="http://schemas.openxmlformats.org/officeDocument/2006/relationships/image" Target="../media/image19.jpe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F594A80-3DBA-E4CD-687A-F94A1D9F3B99}"/>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0" y="0"/>
            <a:ext cx="12192000" cy="6273800"/>
          </a:xfrm>
          <a:prstGeom prst="rect">
            <a:avLst/>
          </a:prstGeom>
        </p:spPr>
      </p:pic>
      <p:sp>
        <p:nvSpPr>
          <p:cNvPr id="3" name="Title 2">
            <a:extLst>
              <a:ext uri="{FF2B5EF4-FFF2-40B4-BE49-F238E27FC236}">
                <a16:creationId xmlns:a16="http://schemas.microsoft.com/office/drawing/2014/main" id="{59348255-D225-7243-92AA-22DACABAB8FF}"/>
              </a:ext>
            </a:extLst>
          </p:cNvPr>
          <p:cNvSpPr>
            <a:spLocks noGrp="1"/>
          </p:cNvSpPr>
          <p:nvPr>
            <p:ph type="title"/>
          </p:nvPr>
        </p:nvSpPr>
        <p:spPr>
          <a:xfrm>
            <a:off x="698881" y="1127051"/>
            <a:ext cx="11233150" cy="1169582"/>
          </a:xfrm>
        </p:spPr>
        <p:txBody>
          <a:bodyPr anchor="t">
            <a:normAutofit/>
          </a:bodyPr>
          <a:lstStyle/>
          <a:p>
            <a:r>
              <a:rPr dirty="0"/>
              <a:t>Nueva </a:t>
            </a:r>
            <a:r>
              <a:rPr dirty="0" err="1"/>
              <a:t>gama</a:t>
            </a:r>
            <a:r>
              <a:rPr dirty="0"/>
              <a:t> MH: Presentación </a:t>
            </a:r>
            <a:r>
              <a:rPr dirty="0" err="1"/>
              <a:t>comercial</a:t>
            </a:r>
            <a:endParaRPr dirty="0"/>
          </a:p>
        </p:txBody>
      </p:sp>
    </p:spTree>
    <p:extLst>
      <p:ext uri="{BB962C8B-B14F-4D97-AF65-F5344CB8AC3E}">
        <p14:creationId xmlns:p14="http://schemas.microsoft.com/office/powerpoint/2010/main" val="23238588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r>
              <a:t>4</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r>
              <a:t>Producto</a:t>
            </a:r>
          </a:p>
          <a:p>
            <a:endParaRPr lang="en-GB"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fld id="{6C385236-B7BA-4938-9EA6-6DEC8CA653D7}" type="slidenum">
              <a:rPr lang="en-GB" noProof="0" smtClean="0"/>
              <a:pPr/>
              <a:t>10</a:t>
            </a:fld>
            <a:endParaRPr lang="en-GB" noProof="0" dirty="0"/>
          </a:p>
        </p:txBody>
      </p:sp>
    </p:spTree>
    <p:extLst>
      <p:ext uri="{BB962C8B-B14F-4D97-AF65-F5344CB8AC3E}">
        <p14:creationId xmlns:p14="http://schemas.microsoft.com/office/powerpoint/2010/main" val="42171490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36454F-E126-4A84-F8EC-77661FAC2454}"/>
              </a:ext>
            </a:extLst>
          </p:cNvPr>
          <p:cNvSpPr>
            <a:spLocks noGrp="1"/>
          </p:cNvSpPr>
          <p:nvPr>
            <p:ph sz="quarter" idx="18"/>
          </p:nvPr>
        </p:nvSpPr>
        <p:spPr>
          <a:xfrm>
            <a:off x="479425" y="1520455"/>
            <a:ext cx="3559175" cy="4610837"/>
          </a:xfrm>
        </p:spPr>
        <p:txBody>
          <a:bodyPr vert="horz" lIns="216000" tIns="1656000" rIns="180000" bIns="216000" rtlCol="0" anchor="t">
            <a:normAutofit/>
          </a:bodyPr>
          <a:lstStyle/>
          <a:p>
            <a:pPr marL="0" indent="0">
              <a:buNone/>
            </a:pPr>
            <a:r>
              <a:rPr sz="1600" b="1" dirty="0" err="1">
                <a:latin typeface="+mj-lt"/>
              </a:rPr>
              <a:t>Rendimiento</a:t>
            </a:r>
            <a:endParaRPr sz="1600" b="1" dirty="0">
              <a:latin typeface="+mj-lt"/>
            </a:endParaRPr>
          </a:p>
          <a:p>
            <a:pPr marL="0" indent="0">
              <a:buNone/>
            </a:pPr>
            <a:endParaRPr lang="en-GB" b="1" noProof="0" dirty="0"/>
          </a:p>
          <a:p>
            <a:pPr marL="0" indent="0">
              <a:lnSpc>
                <a:spcPct val="120000"/>
              </a:lnSpc>
              <a:spcBef>
                <a:spcPts val="0"/>
              </a:spcBef>
              <a:buNone/>
            </a:pPr>
            <a:r>
              <a:rPr dirty="0" err="1"/>
              <a:t>Innovadora</a:t>
            </a:r>
            <a:r>
              <a:rPr dirty="0"/>
              <a:t>, </a:t>
            </a:r>
            <a:r>
              <a:rPr dirty="0" err="1"/>
              <a:t>eficiente</a:t>
            </a:r>
            <a:r>
              <a:rPr dirty="0"/>
              <a:t> y </a:t>
            </a:r>
            <a:r>
              <a:rPr dirty="0" err="1"/>
              <a:t>diseñada</a:t>
            </a:r>
            <a:r>
              <a:rPr dirty="0"/>
              <a:t> para </a:t>
            </a:r>
            <a:r>
              <a:rPr dirty="0" err="1"/>
              <a:t>durar</a:t>
            </a:r>
            <a:r>
              <a:rPr dirty="0"/>
              <a:t>: </a:t>
            </a:r>
            <a:r>
              <a:rPr dirty="0" err="1"/>
              <a:t>nuestra</a:t>
            </a:r>
            <a:r>
              <a:rPr dirty="0"/>
              <a:t> </a:t>
            </a:r>
            <a:r>
              <a:rPr dirty="0" err="1"/>
              <a:t>tecnología</a:t>
            </a:r>
            <a:r>
              <a:rPr dirty="0"/>
              <a:t> </a:t>
            </a:r>
            <a:r>
              <a:rPr dirty="0" err="1"/>
              <a:t>avanzada</a:t>
            </a:r>
            <a:r>
              <a:rPr dirty="0"/>
              <a:t> y </a:t>
            </a:r>
            <a:r>
              <a:rPr dirty="0" err="1"/>
              <a:t>líder</a:t>
            </a:r>
            <a:r>
              <a:rPr dirty="0"/>
              <a:t> </a:t>
            </a:r>
            <a:r>
              <a:rPr dirty="0" err="1"/>
              <a:t>en</a:t>
            </a:r>
            <a:r>
              <a:rPr dirty="0"/>
              <a:t> la </a:t>
            </a:r>
            <a:r>
              <a:rPr dirty="0" err="1"/>
              <a:t>industria</a:t>
            </a:r>
            <a:r>
              <a:rPr dirty="0"/>
              <a:t> </a:t>
            </a:r>
            <a:r>
              <a:rPr dirty="0" err="1"/>
              <a:t>maximiza</a:t>
            </a:r>
            <a:r>
              <a:rPr dirty="0"/>
              <a:t> </a:t>
            </a:r>
            <a:r>
              <a:rPr dirty="0" err="1"/>
              <a:t>el</a:t>
            </a:r>
            <a:r>
              <a:rPr dirty="0"/>
              <a:t> </a:t>
            </a:r>
            <a:r>
              <a:rPr dirty="0" err="1"/>
              <a:t>rendimiento</a:t>
            </a:r>
            <a:r>
              <a:rPr dirty="0"/>
              <a:t>, reduce </a:t>
            </a:r>
            <a:r>
              <a:rPr dirty="0" err="1"/>
              <a:t>los</a:t>
            </a:r>
            <a:r>
              <a:rPr dirty="0"/>
              <a:t> cost</a:t>
            </a:r>
            <a:r>
              <a:rPr lang="en-GB" dirty="0"/>
              <a:t>e</a:t>
            </a:r>
            <a:r>
              <a:rPr dirty="0"/>
              <a:t>s y se </a:t>
            </a:r>
            <a:r>
              <a:rPr dirty="0" err="1"/>
              <a:t>adapta</a:t>
            </a:r>
            <a:r>
              <a:rPr dirty="0"/>
              <a:t> a las </a:t>
            </a:r>
            <a:r>
              <a:rPr dirty="0" err="1"/>
              <a:t>distintas</a:t>
            </a:r>
            <a:r>
              <a:rPr dirty="0"/>
              <a:t> </a:t>
            </a:r>
            <a:r>
              <a:rPr dirty="0" err="1"/>
              <a:t>necesidades</a:t>
            </a:r>
            <a:r>
              <a:rPr dirty="0"/>
              <a:t> de la </a:t>
            </a:r>
            <a:r>
              <a:rPr dirty="0" err="1"/>
              <a:t>industria</a:t>
            </a:r>
            <a:r>
              <a:rPr dirty="0"/>
              <a:t>, </a:t>
            </a:r>
            <a:r>
              <a:rPr dirty="0" err="1"/>
              <a:t>garantizando</a:t>
            </a:r>
            <a:r>
              <a:rPr dirty="0"/>
              <a:t> </a:t>
            </a:r>
            <a:r>
              <a:rPr dirty="0" err="1"/>
              <a:t>durabilidad</a:t>
            </a:r>
            <a:r>
              <a:rPr dirty="0"/>
              <a:t> y </a:t>
            </a:r>
            <a:r>
              <a:rPr dirty="0" err="1"/>
              <a:t>el</a:t>
            </a:r>
            <a:r>
              <a:rPr dirty="0"/>
              <a:t> </a:t>
            </a:r>
            <a:r>
              <a:rPr dirty="0" err="1"/>
              <a:t>máximo</a:t>
            </a:r>
            <a:r>
              <a:rPr dirty="0"/>
              <a:t> </a:t>
            </a:r>
            <a:r>
              <a:rPr dirty="0" err="1"/>
              <a:t>tiempo</a:t>
            </a:r>
            <a:r>
              <a:rPr dirty="0"/>
              <a:t> </a:t>
            </a:r>
            <a:r>
              <a:rPr dirty="0" err="1"/>
              <a:t>operativo</a:t>
            </a:r>
            <a:r>
              <a:rPr dirty="0"/>
              <a:t>.</a:t>
            </a:r>
            <a:endParaRPr lang="en-GB" noProof="0" dirty="0">
              <a:ea typeface="Roboto Light"/>
              <a:cs typeface="Roboto Light"/>
            </a:endParaRPr>
          </a:p>
          <a:p>
            <a:pPr marL="0" indent="0">
              <a:buNone/>
            </a:pPr>
            <a:endParaRPr lang="en-GB" noProof="0" dirty="0"/>
          </a:p>
        </p:txBody>
      </p:sp>
      <p:sp>
        <p:nvSpPr>
          <p:cNvPr id="5" name="Text Placeholder 4">
            <a:extLst>
              <a:ext uri="{FF2B5EF4-FFF2-40B4-BE49-F238E27FC236}">
                <a16:creationId xmlns:a16="http://schemas.microsoft.com/office/drawing/2014/main" id="{A0131AD9-C61C-9C34-30BA-930D18D744FB}"/>
              </a:ext>
            </a:extLst>
          </p:cNvPr>
          <p:cNvSpPr>
            <a:spLocks noGrp="1"/>
          </p:cNvSpPr>
          <p:nvPr>
            <p:ph sz="quarter" idx="21"/>
          </p:nvPr>
        </p:nvSpPr>
        <p:spPr>
          <a:xfrm>
            <a:off x="4316412" y="1519200"/>
            <a:ext cx="3559175" cy="4610837"/>
          </a:xfrm>
        </p:spPr>
        <p:txBody>
          <a:bodyPr vert="horz" lIns="216000" tIns="1656000" rIns="180000" bIns="216000" rtlCol="0" anchor="t">
            <a:normAutofit/>
          </a:bodyPr>
          <a:lstStyle/>
          <a:p>
            <a:pPr marL="0" indent="0">
              <a:buNone/>
            </a:pPr>
            <a:r>
              <a:rPr sz="1600" b="1">
                <a:latin typeface="Roboto Bold"/>
              </a:rPr>
              <a:t>Control</a:t>
            </a:r>
          </a:p>
          <a:p>
            <a:pPr marL="0" indent="0">
              <a:buNone/>
            </a:pPr>
            <a:endParaRPr lang="en-GB" b="1" noProof="0" dirty="0"/>
          </a:p>
          <a:p>
            <a:pPr marL="0" indent="0">
              <a:lnSpc>
                <a:spcPct val="120000"/>
              </a:lnSpc>
              <a:spcBef>
                <a:spcPts val="0"/>
              </a:spcBef>
              <a:buNone/>
            </a:pPr>
            <a:r>
              <a:t>Inteligentes, adaptables y fáciles de usar: nuestras soluciones ofrecen flexibilidad en el uso de combustible, controles intuitivos y están diseñadas para mejorar la eficiencia, la consistencia y la facilidad de operación en diversos sectores.</a:t>
            </a:r>
            <a:endParaRPr lang="en-GB" noProof="0" dirty="0">
              <a:ea typeface="Roboto Light"/>
              <a:cs typeface="Roboto Light"/>
            </a:endParaRPr>
          </a:p>
          <a:p>
            <a:pPr marL="0" indent="0">
              <a:buNone/>
            </a:pPr>
            <a:endParaRPr lang="en-GB" b="1" noProof="0" dirty="0"/>
          </a:p>
        </p:txBody>
      </p:sp>
      <p:sp>
        <p:nvSpPr>
          <p:cNvPr id="19" name="Content Placeholder 3">
            <a:extLst>
              <a:ext uri="{FF2B5EF4-FFF2-40B4-BE49-F238E27FC236}">
                <a16:creationId xmlns:a16="http://schemas.microsoft.com/office/drawing/2014/main" id="{7ECAF9B6-A1DC-CF7F-3958-D95732680E58}"/>
              </a:ext>
            </a:extLst>
          </p:cNvPr>
          <p:cNvSpPr>
            <a:spLocks noGrp="1"/>
          </p:cNvSpPr>
          <p:nvPr>
            <p:ph sz="quarter" idx="22"/>
          </p:nvPr>
        </p:nvSpPr>
        <p:spPr>
          <a:xfrm>
            <a:off x="8153400" y="1520455"/>
            <a:ext cx="3559175" cy="4610837"/>
          </a:xfrm>
        </p:spPr>
        <p:txBody>
          <a:bodyPr vert="horz" lIns="216000" tIns="1656000" rIns="180000" bIns="216000" rtlCol="0" anchor="t">
            <a:noAutofit/>
          </a:bodyPr>
          <a:lstStyle/>
          <a:p>
            <a:pPr marL="0" indent="0">
              <a:buNone/>
            </a:pPr>
            <a:r>
              <a:rPr sz="1600" b="1" dirty="0" err="1">
                <a:latin typeface="+mj-lt"/>
              </a:rPr>
              <a:t>Sostenibilidad</a:t>
            </a:r>
            <a:endParaRPr sz="1600" b="1" dirty="0">
              <a:latin typeface="+mj-lt"/>
            </a:endParaRPr>
          </a:p>
          <a:p>
            <a:pPr marL="0" indent="0">
              <a:buNone/>
            </a:pPr>
            <a:endParaRPr lang="en-GB" b="1" noProof="0" dirty="0"/>
          </a:p>
          <a:p>
            <a:pPr marL="0" indent="0">
              <a:lnSpc>
                <a:spcPct val="120000"/>
              </a:lnSpc>
              <a:spcBef>
                <a:spcPts val="0"/>
              </a:spcBef>
              <a:buNone/>
            </a:pPr>
            <a:r>
              <a:rPr dirty="0" err="1"/>
              <a:t>Sostenibles</a:t>
            </a:r>
            <a:r>
              <a:rPr dirty="0"/>
              <a:t>, </a:t>
            </a:r>
            <a:r>
              <a:rPr dirty="0" err="1"/>
              <a:t>rentables</a:t>
            </a:r>
            <a:r>
              <a:rPr dirty="0"/>
              <a:t> y </a:t>
            </a:r>
            <a:r>
              <a:rPr dirty="0" err="1"/>
              <a:t>fáciles</a:t>
            </a:r>
            <a:r>
              <a:rPr dirty="0"/>
              <a:t> de </a:t>
            </a:r>
            <a:r>
              <a:rPr dirty="0" err="1"/>
              <a:t>mantener</a:t>
            </a:r>
            <a:r>
              <a:rPr dirty="0"/>
              <a:t>: </a:t>
            </a:r>
            <a:r>
              <a:rPr dirty="0" err="1"/>
              <a:t>nuestras</a:t>
            </a:r>
            <a:r>
              <a:rPr dirty="0"/>
              <a:t> </a:t>
            </a:r>
            <a:r>
              <a:rPr dirty="0" err="1"/>
              <a:t>soluciones</a:t>
            </a:r>
            <a:r>
              <a:rPr dirty="0"/>
              <a:t> </a:t>
            </a:r>
            <a:r>
              <a:rPr dirty="0" err="1"/>
              <a:t>reducen</a:t>
            </a:r>
            <a:r>
              <a:rPr dirty="0"/>
              <a:t> las </a:t>
            </a:r>
            <a:r>
              <a:rPr dirty="0" err="1"/>
              <a:t>emisiones</a:t>
            </a:r>
            <a:r>
              <a:rPr dirty="0"/>
              <a:t> de CO₂ hasta </a:t>
            </a:r>
            <a:r>
              <a:rPr dirty="0" err="1"/>
              <a:t>en</a:t>
            </a:r>
            <a:r>
              <a:rPr dirty="0"/>
              <a:t> un 80%, </a:t>
            </a:r>
            <a:r>
              <a:rPr dirty="0" err="1"/>
              <a:t>disminuyen</a:t>
            </a:r>
            <a:r>
              <a:rPr dirty="0"/>
              <a:t> </a:t>
            </a:r>
            <a:r>
              <a:rPr dirty="0" err="1"/>
              <a:t>los</a:t>
            </a:r>
            <a:r>
              <a:rPr dirty="0"/>
              <a:t> cost</a:t>
            </a:r>
            <a:r>
              <a:rPr lang="en-GB" dirty="0"/>
              <a:t>e</a:t>
            </a:r>
            <a:r>
              <a:rPr dirty="0"/>
              <a:t>s </a:t>
            </a:r>
            <a:r>
              <a:rPr dirty="0" err="1"/>
              <a:t>operativos</a:t>
            </a:r>
            <a:r>
              <a:rPr dirty="0"/>
              <a:t> y </a:t>
            </a:r>
            <a:r>
              <a:rPr dirty="0" err="1"/>
              <a:t>minimizan</a:t>
            </a:r>
            <a:r>
              <a:rPr dirty="0"/>
              <a:t> </a:t>
            </a:r>
            <a:r>
              <a:rPr dirty="0" err="1"/>
              <a:t>los</a:t>
            </a:r>
            <a:r>
              <a:rPr dirty="0"/>
              <a:t> </a:t>
            </a:r>
            <a:r>
              <a:rPr dirty="0" err="1"/>
              <a:t>tiempos</a:t>
            </a:r>
            <a:r>
              <a:rPr dirty="0"/>
              <a:t> de </a:t>
            </a:r>
            <a:r>
              <a:rPr dirty="0" err="1"/>
              <a:t>inactividad</a:t>
            </a:r>
            <a:r>
              <a:rPr dirty="0"/>
              <a:t> gracias a </a:t>
            </a:r>
            <a:r>
              <a:rPr dirty="0" err="1"/>
              <a:t>diagnósticos</a:t>
            </a:r>
            <a:r>
              <a:rPr dirty="0"/>
              <a:t> </a:t>
            </a:r>
            <a:r>
              <a:rPr dirty="0" err="1"/>
              <a:t>inteligentes</a:t>
            </a:r>
            <a:r>
              <a:rPr dirty="0"/>
              <a:t>, </a:t>
            </a:r>
            <a:r>
              <a:rPr dirty="0" err="1"/>
              <a:t>mantenimiento</a:t>
            </a:r>
            <a:r>
              <a:rPr dirty="0"/>
              <a:t> </a:t>
            </a:r>
            <a:r>
              <a:rPr dirty="0" err="1"/>
              <a:t>guiado</a:t>
            </a:r>
            <a:r>
              <a:rPr dirty="0"/>
              <a:t> y un </a:t>
            </a:r>
            <a:r>
              <a:rPr dirty="0" err="1"/>
              <a:t>soporte</a:t>
            </a:r>
            <a:r>
              <a:rPr dirty="0"/>
              <a:t> de </a:t>
            </a:r>
            <a:r>
              <a:rPr dirty="0" err="1"/>
              <a:t>servicio</a:t>
            </a:r>
            <a:r>
              <a:rPr dirty="0"/>
              <a:t> sin </a:t>
            </a:r>
            <a:r>
              <a:rPr dirty="0" err="1"/>
              <a:t>interrupciones</a:t>
            </a:r>
            <a:r>
              <a:rPr dirty="0"/>
              <a:t>.</a:t>
            </a:r>
            <a:endParaRPr lang="en-GB" noProof="0" dirty="0">
              <a:ea typeface="Roboto Light"/>
              <a:cs typeface="Roboto Light"/>
            </a:endParaRPr>
          </a:p>
          <a:p>
            <a:pPr marL="0" indent="0">
              <a:buNone/>
            </a:pPr>
            <a:endParaRPr lang="en-GB" b="1" noProof="0" dirty="0"/>
          </a:p>
        </p:txBody>
      </p:sp>
      <p:sp>
        <p:nvSpPr>
          <p:cNvPr id="10" name="Footer Placeholder 9">
            <a:extLst>
              <a:ext uri="{FF2B5EF4-FFF2-40B4-BE49-F238E27FC236}">
                <a16:creationId xmlns:a16="http://schemas.microsoft.com/office/drawing/2014/main" id="{0457109C-1BAE-8402-14CB-D31259068B27}"/>
              </a:ext>
            </a:extLst>
          </p:cNvPr>
          <p:cNvSpPr>
            <a:spLocks noGrp="1"/>
          </p:cNvSpPr>
          <p:nvPr>
            <p:ph type="ftr" sz="quarter" idx="24"/>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11" name="Slide Number Placeholder 10">
            <a:extLst>
              <a:ext uri="{FF2B5EF4-FFF2-40B4-BE49-F238E27FC236}">
                <a16:creationId xmlns:a16="http://schemas.microsoft.com/office/drawing/2014/main" id="{3EAC0A30-D522-A73F-A317-3D5B3675CD10}"/>
              </a:ext>
            </a:extLst>
          </p:cNvPr>
          <p:cNvSpPr>
            <a:spLocks noGrp="1"/>
          </p:cNvSpPr>
          <p:nvPr>
            <p:ph type="sldNum" sz="quarter" idx="25"/>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11</a:t>
            </a:fld>
            <a:endParaRPr lang="en-GB" noProof="0" dirty="0"/>
          </a:p>
        </p:txBody>
      </p:sp>
      <p:sp>
        <p:nvSpPr>
          <p:cNvPr id="20" name="Text Placeholder 6">
            <a:extLst>
              <a:ext uri="{FF2B5EF4-FFF2-40B4-BE49-F238E27FC236}">
                <a16:creationId xmlns:a16="http://schemas.microsoft.com/office/drawing/2014/main" id="{202264A9-FE14-B35E-8B01-91EBAB03F782}"/>
              </a:ext>
            </a:extLst>
          </p:cNvPr>
          <p:cNvSpPr>
            <a:spLocks noGrp="1"/>
          </p:cNvSpPr>
          <p:nvPr>
            <p:ph type="body" sz="quarter" idx="14"/>
          </p:nvPr>
        </p:nvSpPr>
        <p:spPr>
          <a:xfrm>
            <a:off x="475521" y="873877"/>
            <a:ext cx="11235102" cy="376456"/>
          </a:xfrm>
        </p:spPr>
        <p:txBody>
          <a:bodyPr/>
          <a:lstStyle/>
          <a:p>
            <a:r>
              <a:t>Alta eficiencia y control</a:t>
            </a:r>
          </a:p>
        </p:txBody>
      </p:sp>
      <p:sp>
        <p:nvSpPr>
          <p:cNvPr id="13" name="Title 12">
            <a:extLst>
              <a:ext uri="{FF2B5EF4-FFF2-40B4-BE49-F238E27FC236}">
                <a16:creationId xmlns:a16="http://schemas.microsoft.com/office/drawing/2014/main" id="{B3176715-B1CF-4CF2-56ED-17A9557A148D}"/>
              </a:ext>
            </a:extLst>
          </p:cNvPr>
          <p:cNvSpPr>
            <a:spLocks noGrp="1"/>
          </p:cNvSpPr>
          <p:nvPr>
            <p:ph type="title"/>
          </p:nvPr>
        </p:nvSpPr>
        <p:spPr>
          <a:xfrm>
            <a:off x="479425" y="494490"/>
            <a:ext cx="11233150" cy="388013"/>
          </a:xfrm>
        </p:spPr>
        <p:txBody>
          <a:bodyPr anchor="t">
            <a:normAutofit/>
          </a:bodyPr>
          <a:lstStyle/>
          <a:p>
            <a:r>
              <a:rPr sz="2400"/>
              <a:t>Diseñados y fabricados para rendir al máximo</a:t>
            </a:r>
          </a:p>
        </p:txBody>
      </p:sp>
      <p:pic>
        <p:nvPicPr>
          <p:cNvPr id="6" name="Graphic 5">
            <a:extLst>
              <a:ext uri="{FF2B5EF4-FFF2-40B4-BE49-F238E27FC236}">
                <a16:creationId xmlns:a16="http://schemas.microsoft.com/office/drawing/2014/main" id="{C1D53E68-680D-1202-CE73-BC2698C706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4529" y="1846736"/>
            <a:ext cx="1550688" cy="869898"/>
          </a:xfrm>
          <a:prstGeom prst="rect">
            <a:avLst/>
          </a:prstGeom>
        </p:spPr>
      </p:pic>
      <p:pic>
        <p:nvPicPr>
          <p:cNvPr id="8" name="Graphic 7">
            <a:extLst>
              <a:ext uri="{FF2B5EF4-FFF2-40B4-BE49-F238E27FC236}">
                <a16:creationId xmlns:a16="http://schemas.microsoft.com/office/drawing/2014/main" id="{C661269D-AD71-1DAB-245C-8E7ED0BA3B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76104" y="1750980"/>
            <a:ext cx="1113766" cy="1113766"/>
          </a:xfrm>
          <a:prstGeom prst="rect">
            <a:avLst/>
          </a:prstGeom>
        </p:spPr>
      </p:pic>
      <p:pic>
        <p:nvPicPr>
          <p:cNvPr id="7" name="Graphic 6">
            <a:extLst>
              <a:ext uri="{FF2B5EF4-FFF2-40B4-BE49-F238E27FC236}">
                <a16:creationId xmlns:a16="http://schemas.microsoft.com/office/drawing/2014/main" id="{8A3D0ECE-611D-9C71-DABE-9654F9A002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8718" y="1793110"/>
            <a:ext cx="1168707" cy="1192558"/>
          </a:xfrm>
          <a:prstGeom prst="rect">
            <a:avLst/>
          </a:prstGeom>
        </p:spPr>
      </p:pic>
    </p:spTree>
    <p:extLst>
      <p:ext uri="{BB962C8B-B14F-4D97-AF65-F5344CB8AC3E}">
        <p14:creationId xmlns:p14="http://schemas.microsoft.com/office/powerpoint/2010/main" val="23850767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6A618-52C9-A0C8-F581-12FD29BAA8B3}"/>
            </a:ext>
          </a:extLst>
        </p:cNvPr>
        <p:cNvGrpSpPr/>
        <p:nvPr/>
      </p:nvGrpSpPr>
      <p:grpSpPr>
        <a:xfrm>
          <a:off x="0" y="0"/>
          <a:ext cx="0" cy="0"/>
          <a:chOff x="0" y="0"/>
          <a:chExt cx="0" cy="0"/>
        </a:xfrm>
      </p:grpSpPr>
      <p:sp>
        <p:nvSpPr>
          <p:cNvPr id="11" name="Text Placeholder 1">
            <a:extLst>
              <a:ext uri="{FF2B5EF4-FFF2-40B4-BE49-F238E27FC236}">
                <a16:creationId xmlns:a16="http://schemas.microsoft.com/office/drawing/2014/main" id="{95DF2D06-06FF-A3B9-D211-0694C7D42532}"/>
              </a:ext>
            </a:extLst>
          </p:cNvPr>
          <p:cNvSpPr txBox="1">
            <a:spLocks/>
          </p:cNvSpPr>
          <p:nvPr/>
        </p:nvSpPr>
        <p:spPr>
          <a:xfrm>
            <a:off x="7934325" y="0"/>
            <a:ext cx="4257674"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noProof="0" dirty="0"/>
          </a:p>
        </p:txBody>
      </p:sp>
      <p:sp>
        <p:nvSpPr>
          <p:cNvPr id="2" name="Pladsholder til sidefod 1">
            <a:extLst>
              <a:ext uri="{FF2B5EF4-FFF2-40B4-BE49-F238E27FC236}">
                <a16:creationId xmlns:a16="http://schemas.microsoft.com/office/drawing/2014/main" id="{501868B3-3D7C-163B-86BA-861BEEAA441D}"/>
              </a:ext>
            </a:extLst>
          </p:cNvPr>
          <p:cNvSpPr>
            <a:spLocks noGrp="1"/>
          </p:cNvSpPr>
          <p:nvPr>
            <p:ph type="ftr" sz="quarter" idx="21"/>
          </p:nvPr>
        </p:nvSpPr>
        <p:spPr/>
        <p:txBody>
          <a:bodyPr/>
          <a:lstStyle/>
          <a:p>
            <a:pPr algn="l"/>
            <a:r>
              <a:t>INFORMACIÓN CONFIDENCIAL DE LA EMPRESA</a:t>
            </a:r>
          </a:p>
        </p:txBody>
      </p:sp>
      <p:sp>
        <p:nvSpPr>
          <p:cNvPr id="3" name="Pladsholder til slidenummer 2">
            <a:extLst>
              <a:ext uri="{FF2B5EF4-FFF2-40B4-BE49-F238E27FC236}">
                <a16:creationId xmlns:a16="http://schemas.microsoft.com/office/drawing/2014/main" id="{214C7CC5-5D3F-B8BA-22F9-4DC361739C31}"/>
              </a:ext>
            </a:extLst>
          </p:cNvPr>
          <p:cNvSpPr>
            <a:spLocks noGrp="1"/>
          </p:cNvSpPr>
          <p:nvPr>
            <p:ph type="sldNum" sz="quarter" idx="22"/>
          </p:nvPr>
        </p:nvSpPr>
        <p:spPr/>
        <p:txBody>
          <a:bodyPr/>
          <a:lstStyle/>
          <a:p>
            <a:fld id="{6C385236-B7BA-4938-9EA6-6DEC8CA653D7}" type="slidenum">
              <a:rPr lang="en-GB" noProof="0" smtClean="0"/>
              <a:pPr/>
              <a:t>12</a:t>
            </a:fld>
            <a:endParaRPr lang="en-GB" noProof="0" dirty="0"/>
          </a:p>
        </p:txBody>
      </p:sp>
      <p:sp>
        <p:nvSpPr>
          <p:cNvPr id="4" name="Pladsholder til indhold 3">
            <a:extLst>
              <a:ext uri="{FF2B5EF4-FFF2-40B4-BE49-F238E27FC236}">
                <a16:creationId xmlns:a16="http://schemas.microsoft.com/office/drawing/2014/main" id="{F6E16CC6-B737-FE2E-226A-879EE8EE0D06}"/>
              </a:ext>
            </a:extLst>
          </p:cNvPr>
          <p:cNvSpPr>
            <a:spLocks noGrp="1"/>
          </p:cNvSpPr>
          <p:nvPr>
            <p:ph sz="quarter" idx="18"/>
          </p:nvPr>
        </p:nvSpPr>
        <p:spPr>
          <a:xfrm>
            <a:off x="479425" y="1452216"/>
            <a:ext cx="5453230" cy="376456"/>
          </a:xfrm>
          <a:solidFill>
            <a:schemeClr val="bg1"/>
          </a:solidFill>
          <a:effectLst/>
        </p:spPr>
        <p:txBody>
          <a:bodyPr vert="horz" lIns="0" tIns="0" rIns="0" bIns="0" rtlCol="0" anchor="t">
            <a:noAutofit/>
          </a:bodyPr>
          <a:lstStyle/>
          <a:p>
            <a:pPr marL="0" indent="0">
              <a:buNone/>
            </a:pPr>
            <a:r>
              <a:rPr sz="1200"/>
              <a:t>Nueva gama MH: renovación completa de la gama</a:t>
            </a:r>
            <a:endParaRPr lang="en-GB" sz="1200" noProof="0" dirty="0">
              <a:ea typeface="Roboto Light"/>
              <a:cs typeface="Roboto Light"/>
            </a:endParaRPr>
          </a:p>
        </p:txBody>
      </p:sp>
      <p:sp>
        <p:nvSpPr>
          <p:cNvPr id="5" name="Pladsholder til indhold 4">
            <a:extLst>
              <a:ext uri="{FF2B5EF4-FFF2-40B4-BE49-F238E27FC236}">
                <a16:creationId xmlns:a16="http://schemas.microsoft.com/office/drawing/2014/main" id="{30ACA6E1-4FD7-AB1C-87F9-5DC8DE435580}"/>
              </a:ext>
            </a:extLst>
          </p:cNvPr>
          <p:cNvSpPr>
            <a:spLocks noGrp="1"/>
          </p:cNvSpPr>
          <p:nvPr>
            <p:ph sz="quarter" idx="23"/>
          </p:nvPr>
        </p:nvSpPr>
        <p:spPr>
          <a:xfrm>
            <a:off x="7934326" y="1452216"/>
            <a:ext cx="3776298" cy="4821584"/>
          </a:xfrm>
          <a:solidFill>
            <a:schemeClr val="bg1">
              <a:alpha val="0"/>
            </a:schemeClr>
          </a:solidFill>
          <a:effectLst/>
        </p:spPr>
        <p:txBody>
          <a:bodyPr lIns="288000" tIns="0" rIns="0" bIns="0"/>
          <a:lstStyle/>
          <a:p>
            <a:pPr marL="0" indent="0">
              <a:buNone/>
            </a:pPr>
            <a:r>
              <a:rPr sz="1200" dirty="0" err="1"/>
              <a:t>Detalles</a:t>
            </a:r>
            <a:r>
              <a:rPr sz="1200" dirty="0"/>
              <a:t> de </a:t>
            </a:r>
            <a:r>
              <a:rPr sz="1200" dirty="0" err="1"/>
              <a:t>denominación</a:t>
            </a:r>
            <a:endParaRPr sz="1200" dirty="0"/>
          </a:p>
          <a:p>
            <a:pPr marL="0" indent="0">
              <a:buNone/>
            </a:pPr>
            <a:endParaRPr lang="en-GB" sz="900" noProof="0" dirty="0"/>
          </a:p>
          <a:p>
            <a:pPr marL="0" indent="0">
              <a:buNone/>
            </a:pPr>
            <a:r>
              <a:rPr sz="900" b="1" dirty="0" err="1"/>
              <a:t>Ejemplo</a:t>
            </a:r>
            <a:endParaRPr sz="900" b="1" dirty="0"/>
          </a:p>
          <a:p>
            <a:pPr marL="0" indent="0">
              <a:buNone/>
            </a:pPr>
            <a:endParaRPr lang="en-GB" sz="900" b="1" noProof="0" dirty="0">
              <a:latin typeface="+mj-lt"/>
            </a:endParaRPr>
          </a:p>
          <a:p>
            <a:pPr marL="0" indent="0">
              <a:buNone/>
            </a:pPr>
            <a:r>
              <a:rPr sz="1000" dirty="0">
                <a:latin typeface="+mj-lt"/>
              </a:rPr>
              <a:t>MH35C PAX</a:t>
            </a:r>
          </a:p>
          <a:p>
            <a:pPr marL="0" indent="0">
              <a:buNone/>
            </a:pPr>
            <a:r>
              <a:rPr sz="1000" dirty="0"/>
              <a:t>MH = </a:t>
            </a:r>
            <a:r>
              <a:rPr sz="1000" dirty="0" err="1"/>
              <a:t>Móvil</a:t>
            </a:r>
            <a:r>
              <a:rPr sz="1000" dirty="0"/>
              <a:t> de </a:t>
            </a:r>
            <a:r>
              <a:rPr sz="1000" dirty="0" err="1"/>
              <a:t>agua</a:t>
            </a:r>
            <a:r>
              <a:rPr sz="1000" dirty="0"/>
              <a:t> caliente</a:t>
            </a:r>
          </a:p>
          <a:p>
            <a:pPr marL="0" indent="0">
              <a:buNone/>
            </a:pPr>
            <a:r>
              <a:rPr sz="1000" dirty="0"/>
              <a:t>3 = </a:t>
            </a:r>
            <a:r>
              <a:rPr sz="1000" dirty="0" err="1"/>
              <a:t>Número</a:t>
            </a:r>
            <a:r>
              <a:rPr sz="1000" dirty="0"/>
              <a:t> </a:t>
            </a:r>
            <a:r>
              <a:rPr sz="1000" dirty="0" err="1"/>
              <a:t>dentro</a:t>
            </a:r>
            <a:r>
              <a:rPr sz="1000" dirty="0"/>
              <a:t> de la </a:t>
            </a:r>
            <a:r>
              <a:rPr sz="1000" dirty="0" err="1"/>
              <a:t>gama</a:t>
            </a:r>
            <a:endParaRPr sz="1000" dirty="0"/>
          </a:p>
          <a:p>
            <a:pPr marL="0" indent="0">
              <a:buNone/>
            </a:pPr>
            <a:r>
              <a:rPr sz="1000" dirty="0"/>
              <a:t>5 = </a:t>
            </a:r>
            <a:r>
              <a:rPr sz="1000" dirty="0" err="1"/>
              <a:t>Máquina</a:t>
            </a:r>
            <a:r>
              <a:rPr sz="1000" dirty="0"/>
              <a:t> </a:t>
            </a:r>
            <a:r>
              <a:rPr sz="1000" dirty="0" err="1"/>
              <a:t>avanzada</a:t>
            </a:r>
            <a:endParaRPr sz="1000" dirty="0"/>
          </a:p>
          <a:p>
            <a:pPr marL="0" indent="0">
              <a:buNone/>
            </a:pPr>
            <a:r>
              <a:rPr sz="1000" dirty="0"/>
              <a:t>C = </a:t>
            </a:r>
            <a:r>
              <a:rPr lang="en-GB" sz="1000" dirty="0"/>
              <a:t>Bomba Compacta</a:t>
            </a:r>
            <a:r>
              <a:rPr sz="1000" dirty="0"/>
              <a:t> con motor de 2800 rpm</a:t>
            </a:r>
          </a:p>
          <a:p>
            <a:pPr marL="0" indent="0">
              <a:buNone/>
            </a:pPr>
            <a:r>
              <a:rPr sz="1000" dirty="0"/>
              <a:t>PA = </a:t>
            </a:r>
            <a:r>
              <a:rPr sz="1000" dirty="0" err="1"/>
              <a:t>Activado</a:t>
            </a:r>
            <a:r>
              <a:rPr sz="1000" dirty="0"/>
              <a:t> </a:t>
            </a:r>
            <a:r>
              <a:rPr sz="1000" dirty="0" err="1"/>
              <a:t>por</a:t>
            </a:r>
            <a:r>
              <a:rPr sz="1000" dirty="0"/>
              <a:t> </a:t>
            </a:r>
            <a:r>
              <a:rPr sz="1000" dirty="0" err="1"/>
              <a:t>presión</a:t>
            </a:r>
            <a:endParaRPr sz="1000" dirty="0"/>
          </a:p>
          <a:p>
            <a:pPr marL="0" indent="0">
              <a:buNone/>
            </a:pPr>
            <a:r>
              <a:rPr sz="1000" dirty="0"/>
              <a:t>X = Carrete de </a:t>
            </a:r>
            <a:r>
              <a:rPr sz="1000" dirty="0" err="1"/>
              <a:t>manguera</a:t>
            </a:r>
            <a:endParaRPr sz="1000" dirty="0"/>
          </a:p>
          <a:p>
            <a:pPr marL="0" indent="0">
              <a:buNone/>
            </a:pPr>
            <a:r>
              <a:rPr lang="en-GB" sz="1000" noProof="0" dirty="0"/>
              <a:t>		</a:t>
            </a:r>
          </a:p>
          <a:p>
            <a:pPr marL="0" indent="0">
              <a:buNone/>
            </a:pPr>
            <a:r>
              <a:rPr sz="1000" dirty="0">
                <a:latin typeface="+mj-lt"/>
              </a:rPr>
              <a:t>MH50M PA</a:t>
            </a:r>
          </a:p>
          <a:p>
            <a:pPr marL="0" indent="0">
              <a:buNone/>
            </a:pPr>
            <a:r>
              <a:rPr sz="1000" dirty="0"/>
              <a:t>MH = </a:t>
            </a:r>
            <a:r>
              <a:rPr sz="1000" dirty="0" err="1"/>
              <a:t>Móvil</a:t>
            </a:r>
            <a:r>
              <a:rPr sz="1000" dirty="0"/>
              <a:t> de </a:t>
            </a:r>
            <a:r>
              <a:rPr sz="1000" dirty="0" err="1"/>
              <a:t>agua</a:t>
            </a:r>
            <a:r>
              <a:rPr sz="1000" dirty="0"/>
              <a:t> caliente</a:t>
            </a:r>
          </a:p>
          <a:p>
            <a:pPr marL="0" indent="0">
              <a:buNone/>
            </a:pPr>
            <a:r>
              <a:rPr sz="1000" dirty="0"/>
              <a:t>5 = </a:t>
            </a:r>
            <a:r>
              <a:rPr sz="1000" dirty="0" err="1"/>
              <a:t>Número</a:t>
            </a:r>
            <a:r>
              <a:rPr sz="1000" dirty="0"/>
              <a:t> total de </a:t>
            </a:r>
            <a:r>
              <a:rPr sz="1000" dirty="0" err="1"/>
              <a:t>modelos</a:t>
            </a:r>
            <a:r>
              <a:rPr sz="1000" dirty="0"/>
              <a:t> </a:t>
            </a:r>
            <a:r>
              <a:rPr sz="1000" dirty="0" err="1"/>
              <a:t>en</a:t>
            </a:r>
            <a:r>
              <a:rPr sz="1000" dirty="0"/>
              <a:t> la </a:t>
            </a:r>
            <a:r>
              <a:rPr sz="1000" dirty="0" err="1"/>
              <a:t>gama</a:t>
            </a:r>
            <a:r>
              <a:rPr sz="1000" dirty="0"/>
              <a:t> MH</a:t>
            </a:r>
          </a:p>
          <a:p>
            <a:pPr marL="0" indent="0">
              <a:buNone/>
            </a:pPr>
            <a:r>
              <a:rPr sz="1000" dirty="0"/>
              <a:t>0 = </a:t>
            </a:r>
            <a:r>
              <a:rPr sz="1000" dirty="0" err="1"/>
              <a:t>Máquina</a:t>
            </a:r>
            <a:r>
              <a:rPr sz="1000" dirty="0"/>
              <a:t> </a:t>
            </a:r>
            <a:r>
              <a:rPr sz="1000" dirty="0" err="1"/>
              <a:t>estándar</a:t>
            </a:r>
            <a:endParaRPr sz="1000" dirty="0"/>
          </a:p>
          <a:p>
            <a:pPr marL="0" indent="0">
              <a:buNone/>
            </a:pPr>
            <a:r>
              <a:rPr sz="1000" dirty="0"/>
              <a:t>M = </a:t>
            </a:r>
            <a:r>
              <a:rPr lang="en-GB" sz="1000" dirty="0"/>
              <a:t>Bomba M</a:t>
            </a:r>
            <a:r>
              <a:rPr sz="1000" dirty="0" err="1"/>
              <a:t>edia</a:t>
            </a:r>
            <a:r>
              <a:rPr sz="1000" dirty="0"/>
              <a:t> con motor de 1450 rpm</a:t>
            </a:r>
          </a:p>
          <a:p>
            <a:pPr marL="0" indent="0">
              <a:buNone/>
            </a:pPr>
            <a:r>
              <a:rPr sz="1000" dirty="0"/>
              <a:t>PA = </a:t>
            </a:r>
            <a:r>
              <a:rPr sz="1000" dirty="0" err="1"/>
              <a:t>Activado</a:t>
            </a:r>
            <a:r>
              <a:rPr sz="1000" dirty="0"/>
              <a:t> </a:t>
            </a:r>
            <a:r>
              <a:rPr sz="1000" dirty="0" err="1"/>
              <a:t>por</a:t>
            </a:r>
            <a:r>
              <a:rPr sz="1000" dirty="0"/>
              <a:t> </a:t>
            </a:r>
            <a:r>
              <a:rPr sz="1000" dirty="0" err="1"/>
              <a:t>presión</a:t>
            </a:r>
            <a:endParaRPr sz="1000" dirty="0"/>
          </a:p>
          <a:p>
            <a:pPr marL="0" indent="0">
              <a:buNone/>
            </a:pPr>
            <a:endParaRPr lang="en-GB" sz="1000" noProof="0" dirty="0"/>
          </a:p>
          <a:p>
            <a:pPr marL="0" indent="0">
              <a:buNone/>
            </a:pPr>
            <a:r>
              <a:rPr sz="1000" dirty="0">
                <a:latin typeface="+mj-lt"/>
              </a:rPr>
              <a:t>MH75P FAX</a:t>
            </a:r>
          </a:p>
          <a:p>
            <a:pPr marL="0" indent="0">
              <a:buNone/>
            </a:pPr>
            <a:r>
              <a:rPr sz="1000" dirty="0"/>
              <a:t>MH = </a:t>
            </a:r>
            <a:r>
              <a:rPr sz="1000" dirty="0" err="1"/>
              <a:t>Móvil</a:t>
            </a:r>
            <a:r>
              <a:rPr sz="1000" dirty="0"/>
              <a:t> de </a:t>
            </a:r>
            <a:r>
              <a:rPr sz="1000" dirty="0" err="1"/>
              <a:t>agua</a:t>
            </a:r>
            <a:r>
              <a:rPr sz="1000" dirty="0"/>
              <a:t> caliente</a:t>
            </a:r>
          </a:p>
          <a:p>
            <a:pPr marL="0" indent="0">
              <a:buNone/>
            </a:pPr>
            <a:r>
              <a:rPr sz="1000" dirty="0"/>
              <a:t>7 = </a:t>
            </a:r>
            <a:r>
              <a:rPr sz="1000" dirty="0" err="1"/>
              <a:t>Número</a:t>
            </a:r>
            <a:r>
              <a:rPr sz="1000" dirty="0"/>
              <a:t> total de </a:t>
            </a:r>
            <a:r>
              <a:rPr sz="1000" dirty="0" err="1"/>
              <a:t>modelos</a:t>
            </a:r>
            <a:r>
              <a:rPr sz="1000" dirty="0"/>
              <a:t> </a:t>
            </a:r>
            <a:r>
              <a:rPr sz="1000" dirty="0" err="1"/>
              <a:t>en</a:t>
            </a:r>
            <a:r>
              <a:rPr sz="1000" dirty="0"/>
              <a:t> la </a:t>
            </a:r>
            <a:r>
              <a:rPr sz="1000" dirty="0" err="1"/>
              <a:t>gama</a:t>
            </a:r>
            <a:endParaRPr sz="1000" dirty="0"/>
          </a:p>
          <a:p>
            <a:pPr marL="0" indent="0">
              <a:buNone/>
            </a:pPr>
            <a:r>
              <a:rPr sz="1000" dirty="0"/>
              <a:t>5 = </a:t>
            </a:r>
            <a:r>
              <a:rPr sz="1000" dirty="0" err="1"/>
              <a:t>Máquina</a:t>
            </a:r>
            <a:r>
              <a:rPr sz="1000" dirty="0"/>
              <a:t> </a:t>
            </a:r>
            <a:r>
              <a:rPr sz="1000" dirty="0" err="1"/>
              <a:t>avanzada</a:t>
            </a:r>
            <a:endParaRPr sz="1000" dirty="0"/>
          </a:p>
          <a:p>
            <a:pPr marL="0" indent="0">
              <a:buNone/>
            </a:pPr>
            <a:r>
              <a:rPr sz="1000" dirty="0"/>
              <a:t>P = </a:t>
            </a:r>
            <a:r>
              <a:rPr lang="en-GB" sz="1000" dirty="0"/>
              <a:t>Bomba Premium </a:t>
            </a:r>
            <a:r>
              <a:rPr sz="1000" dirty="0"/>
              <a:t>con motor de 1450 rpm</a:t>
            </a:r>
          </a:p>
          <a:p>
            <a:pPr marL="0" indent="0">
              <a:buNone/>
            </a:pPr>
            <a:r>
              <a:rPr sz="1000" dirty="0"/>
              <a:t>FA = </a:t>
            </a:r>
            <a:r>
              <a:rPr sz="1000" dirty="0" err="1"/>
              <a:t>Activado</a:t>
            </a:r>
            <a:r>
              <a:rPr sz="1000" dirty="0"/>
              <a:t> </a:t>
            </a:r>
            <a:r>
              <a:rPr sz="1000" dirty="0" err="1"/>
              <a:t>por</a:t>
            </a:r>
            <a:r>
              <a:rPr sz="1000" dirty="0"/>
              <a:t> </a:t>
            </a:r>
            <a:r>
              <a:rPr sz="1000" dirty="0" err="1"/>
              <a:t>flujo</a:t>
            </a:r>
            <a:endParaRPr sz="1000" dirty="0"/>
          </a:p>
          <a:p>
            <a:pPr marL="0" indent="0">
              <a:buNone/>
            </a:pPr>
            <a:r>
              <a:rPr sz="1000" dirty="0"/>
              <a:t>X = Carrete de </a:t>
            </a:r>
            <a:r>
              <a:rPr sz="1000" dirty="0" err="1"/>
              <a:t>manguera</a:t>
            </a:r>
            <a:endParaRPr sz="1000" dirty="0"/>
          </a:p>
          <a:p>
            <a:pPr marL="0" indent="0">
              <a:buNone/>
            </a:pPr>
            <a:r>
              <a:rPr lang="en-GB" noProof="0" dirty="0"/>
              <a:t>	</a:t>
            </a:r>
          </a:p>
        </p:txBody>
      </p:sp>
      <p:sp>
        <p:nvSpPr>
          <p:cNvPr id="6" name="Pladsholder til tekst 5">
            <a:extLst>
              <a:ext uri="{FF2B5EF4-FFF2-40B4-BE49-F238E27FC236}">
                <a16:creationId xmlns:a16="http://schemas.microsoft.com/office/drawing/2014/main" id="{5096E1D5-853B-35E7-79BF-B9A762EC8B7A}"/>
              </a:ext>
            </a:extLst>
          </p:cNvPr>
          <p:cNvSpPr>
            <a:spLocks noGrp="1"/>
          </p:cNvSpPr>
          <p:nvPr>
            <p:ph type="body" sz="quarter" idx="14"/>
          </p:nvPr>
        </p:nvSpPr>
        <p:spPr/>
        <p:txBody>
          <a:bodyPr/>
          <a:lstStyle/>
          <a:p>
            <a:r>
              <a:t>Qué y Cuándo</a:t>
            </a:r>
          </a:p>
        </p:txBody>
      </p:sp>
      <p:sp>
        <p:nvSpPr>
          <p:cNvPr id="7" name="Titel 6">
            <a:extLst>
              <a:ext uri="{FF2B5EF4-FFF2-40B4-BE49-F238E27FC236}">
                <a16:creationId xmlns:a16="http://schemas.microsoft.com/office/drawing/2014/main" id="{EB400493-1741-7F18-1924-A94942DA7489}"/>
              </a:ext>
            </a:extLst>
          </p:cNvPr>
          <p:cNvSpPr>
            <a:spLocks noGrp="1"/>
          </p:cNvSpPr>
          <p:nvPr>
            <p:ph type="title"/>
          </p:nvPr>
        </p:nvSpPr>
        <p:spPr/>
        <p:txBody>
          <a:bodyPr/>
          <a:lstStyle/>
          <a:p>
            <a:r>
              <a:t>Lanzamiento y estrategia de denominación de la nueva gama MH</a:t>
            </a:r>
          </a:p>
        </p:txBody>
      </p:sp>
      <p:graphicFrame>
        <p:nvGraphicFramePr>
          <p:cNvPr id="9" name="Table 47">
            <a:extLst>
              <a:ext uri="{FF2B5EF4-FFF2-40B4-BE49-F238E27FC236}">
                <a16:creationId xmlns:a16="http://schemas.microsoft.com/office/drawing/2014/main" id="{8D8977DC-3619-516B-8411-65F4B55CB796}"/>
              </a:ext>
            </a:extLst>
          </p:cNvPr>
          <p:cNvGraphicFramePr>
            <a:graphicFrameLocks/>
          </p:cNvGraphicFramePr>
          <p:nvPr>
            <p:extLst>
              <p:ext uri="{D42A27DB-BD31-4B8C-83A1-F6EECF244321}">
                <p14:modId xmlns:p14="http://schemas.microsoft.com/office/powerpoint/2010/main" val="3546373478"/>
              </p:ext>
            </p:extLst>
          </p:nvPr>
        </p:nvGraphicFramePr>
        <p:xfrm>
          <a:off x="475520" y="1801376"/>
          <a:ext cx="7109645" cy="4219956"/>
        </p:xfrm>
        <a:graphic>
          <a:graphicData uri="http://schemas.openxmlformats.org/drawingml/2006/table">
            <a:tbl>
              <a:tblPr firstRow="1" bandRow="1">
                <a:effectLst/>
                <a:tableStyleId>{2D5ABB26-0587-4C30-8999-92F81FD0307C}</a:tableStyleId>
              </a:tblPr>
              <a:tblGrid>
                <a:gridCol w="3211761">
                  <a:extLst>
                    <a:ext uri="{9D8B030D-6E8A-4147-A177-3AD203B41FA5}">
                      <a16:colId xmlns:a16="http://schemas.microsoft.com/office/drawing/2014/main" val="745669182"/>
                    </a:ext>
                  </a:extLst>
                </a:gridCol>
                <a:gridCol w="3897884">
                  <a:extLst>
                    <a:ext uri="{9D8B030D-6E8A-4147-A177-3AD203B41FA5}">
                      <a16:colId xmlns:a16="http://schemas.microsoft.com/office/drawing/2014/main" val="828148620"/>
                    </a:ext>
                  </a:extLst>
                </a:gridCol>
              </a:tblGrid>
              <a:tr h="263411">
                <a:tc>
                  <a:txBody>
                    <a:bodyPr/>
                    <a:lstStyle/>
                    <a:p>
                      <a:pPr marL="0" marR="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sz="1200" b="1" i="0" u="none">
                          <a:solidFill>
                            <a:srgbClr val="28313F"/>
                          </a:solidFill>
                          <a:latin typeface="Roboto Bold"/>
                        </a:rPr>
                        <a:t>Gama MH</a:t>
                      </a:r>
                    </a:p>
                  </a:txBody>
                  <a:tcPr marL="0" anchor="b">
                    <a:lnB w="12700" cap="flat" cmpd="sng" algn="ctr">
                      <a:solidFill>
                        <a:schemeClr val="tx1">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sz="1200" b="1" i="0" u="none">
                          <a:solidFill>
                            <a:srgbClr val="28313F"/>
                          </a:solidFill>
                          <a:latin typeface="Roboto Bold"/>
                        </a:rPr>
                        <a:t>Lanzamiento</a:t>
                      </a:r>
                    </a:p>
                  </a:txBody>
                  <a:tcPr anchor="b">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672972686"/>
                  </a:ext>
                </a:extLst>
              </a:tr>
              <a:tr h="251128">
                <a:tc>
                  <a:txBody>
                    <a:bodyPr/>
                    <a:lstStyle/>
                    <a:p>
                      <a:pPr marL="0" marR="0" indent="0" algn="l" defTabSz="1023967" rtl="0" eaLnBrk="1" fontAlgn="auto" hangingPunct="1">
                        <a:lnSpc>
                          <a:spcPct val="100000"/>
                        </a:lnSpc>
                        <a:spcBef>
                          <a:spcPts val="0"/>
                        </a:spcBef>
                        <a:spcAft>
                          <a:spcPts val="0"/>
                        </a:spcAft>
                        <a:buFontTx/>
                        <a:buNone/>
                      </a:pPr>
                      <a:r>
                        <a:rPr sz="1000" b="0" i="0" u="none">
                          <a:latin typeface="Roboto Light"/>
                        </a:rPr>
                        <a:t>MH35C</a:t>
                      </a:r>
                    </a:p>
                  </a:txBody>
                  <a:tcPr marL="0"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hangingPunct="1">
                        <a:lnSpc>
                          <a:spcPct val="100000"/>
                        </a:lnSpc>
                        <a:spcBef>
                          <a:spcPts val="0"/>
                        </a:spcBef>
                        <a:spcAft>
                          <a:spcPts val="0"/>
                        </a:spcAft>
                        <a:buFontTx/>
                        <a:buNone/>
                      </a:pPr>
                      <a:r>
                        <a:rPr sz="1000"/>
                        <a:t>Enero d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82087247"/>
                  </a:ext>
                </a:extLst>
              </a:tr>
              <a:tr h="251128">
                <a:tc>
                  <a:txBody>
                    <a:bodyPr/>
                    <a:lstStyle/>
                    <a:p>
                      <a:pPr marL="0" marR="0" indent="0" algn="l" defTabSz="1023967" rtl="0" eaLnBrk="1" fontAlgn="auto" hangingPunct="1">
                        <a:lnSpc>
                          <a:spcPct val="100000"/>
                        </a:lnSpc>
                        <a:spcBef>
                          <a:spcPts val="0"/>
                        </a:spcBef>
                        <a:spcAft>
                          <a:spcPts val="0"/>
                        </a:spcAft>
                        <a:buFontTx/>
                        <a:buNone/>
                      </a:pPr>
                      <a:r>
                        <a:rPr sz="1000" b="0" i="0" u="none">
                          <a:latin typeface="Roboto Light"/>
                        </a:rPr>
                        <a:t>MH45M</a:t>
                      </a: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hangingPunct="1">
                        <a:lnSpc>
                          <a:spcPct val="100000"/>
                        </a:lnSpc>
                        <a:spcBef>
                          <a:spcPts val="0"/>
                        </a:spcBef>
                        <a:spcAft>
                          <a:spcPts val="0"/>
                        </a:spcAft>
                        <a:buFontTx/>
                        <a:buNone/>
                      </a:pPr>
                      <a:r>
                        <a:rPr sz="1000"/>
                        <a:t>En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37083369"/>
                  </a:ext>
                </a:extLst>
              </a:tr>
              <a:tr h="251128">
                <a:tc>
                  <a:txBody>
                    <a:bodyPr/>
                    <a:lstStyle/>
                    <a:p>
                      <a:pPr marL="0" marR="0" indent="0" algn="l" defTabSz="1023967" rtl="0" eaLnBrk="1" fontAlgn="auto" hangingPunct="1">
                        <a:lnSpc>
                          <a:spcPct val="100000"/>
                        </a:lnSpc>
                        <a:spcBef>
                          <a:spcPts val="0"/>
                        </a:spcBef>
                        <a:spcAft>
                          <a:spcPts val="0"/>
                        </a:spcAft>
                        <a:buFontTx/>
                        <a:buNone/>
                      </a:pPr>
                      <a:r>
                        <a:rPr sz="1000" b="0" i="0" u="none">
                          <a:latin typeface="Roboto Light"/>
                        </a:rPr>
                        <a:t>MH55M</a:t>
                      </a: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En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3743963"/>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30C</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hangingPunct="1">
                        <a:lnSpc>
                          <a:spcPct val="100000"/>
                        </a:lnSpc>
                        <a:spcBef>
                          <a:spcPts val="0"/>
                        </a:spcBef>
                        <a:spcAft>
                          <a:spcPts val="0"/>
                        </a:spcAft>
                        <a:buFontTx/>
                        <a:buNone/>
                      </a:pPr>
                      <a:r>
                        <a:rPr sz="1000"/>
                        <a:t>Enero d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91114718"/>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40M</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hangingPunct="1">
                        <a:lnSpc>
                          <a:spcPct val="100000"/>
                        </a:lnSpc>
                        <a:spcBef>
                          <a:spcPts val="0"/>
                        </a:spcBef>
                        <a:spcAft>
                          <a:spcPts val="0"/>
                        </a:spcAft>
                        <a:buFontTx/>
                        <a:buNone/>
                      </a:pPr>
                      <a:r>
                        <a:rPr sz="1000"/>
                        <a:t>Enero d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74320904"/>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50M</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hangingPunct="1">
                        <a:lnSpc>
                          <a:spcPct val="100000"/>
                        </a:lnSpc>
                        <a:spcBef>
                          <a:spcPts val="0"/>
                        </a:spcBef>
                        <a:spcAft>
                          <a:spcPts val="0"/>
                        </a:spcAft>
                        <a:buFontTx/>
                        <a:buNone/>
                      </a:pPr>
                      <a:r>
                        <a:rPr sz="1000"/>
                        <a:t>Enero de 2026</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093486931"/>
                  </a:ext>
                </a:extLst>
              </a:tr>
              <a:tr h="271507">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MH35M</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291657190"/>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65P</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91344329"/>
                  </a:ext>
                </a:extLst>
              </a:tr>
              <a:tr h="271507">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MH75P</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58733462"/>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85P</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86132638"/>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20C</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26477203"/>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60P</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6467149"/>
                  </a:ext>
                </a:extLst>
              </a:tr>
              <a:tr h="251128">
                <a:tc>
                  <a:txBody>
                    <a:bodyPr/>
                    <a:lstStyle/>
                    <a:p>
                      <a:pPr marL="0" marR="0" indent="0" algn="l" defTabSz="1023967" rtl="0" eaLnBrk="1" fontAlgn="auto" hangingPunct="1">
                        <a:lnSpc>
                          <a:spcPct val="100000"/>
                        </a:lnSpc>
                        <a:spcBef>
                          <a:spcPts val="0"/>
                        </a:spcBef>
                        <a:spcAft>
                          <a:spcPts val="0"/>
                        </a:spcAft>
                        <a:buFontTx/>
                        <a:buNone/>
                      </a:pPr>
                      <a:r>
                        <a:rPr sz="1000"/>
                        <a:t>MH70P</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ago.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54833451"/>
                  </a:ext>
                </a:extLst>
              </a:tr>
              <a:tr h="271507">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MH55M E</a:t>
                      </a:r>
                      <a:endParaRPr lang="en-GB"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a:t>Octubre de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70774074"/>
                  </a:ext>
                </a:extLst>
              </a:tr>
            </a:tbl>
          </a:graphicData>
        </a:graphic>
      </p:graphicFrame>
      <p:sp>
        <p:nvSpPr>
          <p:cNvPr id="10" name="Pladsholder til indhold 3">
            <a:extLst>
              <a:ext uri="{FF2B5EF4-FFF2-40B4-BE49-F238E27FC236}">
                <a16:creationId xmlns:a16="http://schemas.microsoft.com/office/drawing/2014/main" id="{8F47E3C9-416F-3756-A855-0DCA6D7DD41E}"/>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sz="900"/>
              <a:t>* Las versiones fuera de EMEA se lanzarán en agosto de 2026</a:t>
            </a:r>
          </a:p>
        </p:txBody>
      </p:sp>
    </p:spTree>
    <p:extLst>
      <p:ext uri="{BB962C8B-B14F-4D97-AF65-F5344CB8AC3E}">
        <p14:creationId xmlns:p14="http://schemas.microsoft.com/office/powerpoint/2010/main" val="13496495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4BA09A51-7598-223E-BDB5-2C5D3475B355}"/>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a:stretch>
            <a:fillRect/>
          </a:stretch>
        </p:blipFill>
        <p:spPr>
          <a:xfrm>
            <a:off x="6205538" y="0"/>
            <a:ext cx="5986461" cy="6284890"/>
          </a:xfrm>
        </p:spPr>
      </p:pic>
      <p:sp>
        <p:nvSpPr>
          <p:cNvPr id="3" name="Pladsholder til tekst 2">
            <a:extLst>
              <a:ext uri="{FF2B5EF4-FFF2-40B4-BE49-F238E27FC236}">
                <a16:creationId xmlns:a16="http://schemas.microsoft.com/office/drawing/2014/main" id="{F4EBB5D0-771D-BA13-5788-5F8FEF2EF16B}"/>
              </a:ext>
            </a:extLst>
          </p:cNvPr>
          <p:cNvSpPr>
            <a:spLocks noGrp="1"/>
          </p:cNvSpPr>
          <p:nvPr>
            <p:ph type="body" sz="quarter" idx="18"/>
          </p:nvPr>
        </p:nvSpPr>
        <p:spPr>
          <a:xfrm>
            <a:off x="479425" y="1412875"/>
            <a:ext cx="5507038" cy="4571248"/>
          </a:xfrm>
        </p:spPr>
        <p:txBody>
          <a:bodyPr/>
          <a:lstStyle/>
          <a:p>
            <a:pPr marL="0" indent="0">
              <a:buNone/>
            </a:pPr>
            <a:r>
              <a:rPr sz="1100" dirty="0" err="1">
                <a:latin typeface="Roboto Bold"/>
              </a:rPr>
              <a:t>Rendimiento</a:t>
            </a:r>
            <a:r>
              <a:rPr sz="1100" dirty="0">
                <a:latin typeface="Roboto Bold"/>
              </a:rPr>
              <a:t> y </a:t>
            </a:r>
            <a:r>
              <a:rPr sz="1100" dirty="0" err="1">
                <a:latin typeface="Roboto Bold"/>
              </a:rPr>
              <a:t>eficiencia</a:t>
            </a:r>
            <a:endParaRPr sz="1100" dirty="0">
              <a:latin typeface="Roboto Bold"/>
            </a:endParaRPr>
          </a:p>
          <a:p>
            <a:pPr marL="198755" indent="-198755"/>
            <a:r>
              <a:rPr sz="1100" dirty="0"/>
              <a:t>Caldera con </a:t>
            </a:r>
            <a:r>
              <a:rPr sz="1100" dirty="0" err="1"/>
              <a:t>eficiencia</a:t>
            </a:r>
            <a:r>
              <a:rPr sz="1100" dirty="0"/>
              <a:t> </a:t>
            </a:r>
            <a:r>
              <a:rPr sz="1100" dirty="0" err="1"/>
              <a:t>mejorada</a:t>
            </a:r>
            <a:r>
              <a:rPr sz="1100" dirty="0"/>
              <a:t> y </a:t>
            </a:r>
            <a:r>
              <a:rPr sz="1100" dirty="0" err="1"/>
              <a:t>patentada</a:t>
            </a:r>
            <a:r>
              <a:rPr sz="1100" dirty="0"/>
              <a:t> (~96% de </a:t>
            </a:r>
            <a:r>
              <a:rPr sz="1100" dirty="0" err="1"/>
              <a:t>eficiencia</a:t>
            </a:r>
            <a:r>
              <a:rPr sz="1100" dirty="0"/>
              <a:t>)*</a:t>
            </a:r>
            <a:endParaRPr lang="en-GB" sz="1100" noProof="0" dirty="0">
              <a:ea typeface="Roboto Light"/>
              <a:cs typeface="Roboto Light"/>
            </a:endParaRPr>
          </a:p>
          <a:p>
            <a:pPr marL="198755" indent="-198755"/>
            <a:r>
              <a:rPr sz="1100" dirty="0" err="1"/>
              <a:t>Eficiencia</a:t>
            </a:r>
            <a:r>
              <a:rPr sz="1100" dirty="0"/>
              <a:t> </a:t>
            </a:r>
            <a:r>
              <a:rPr sz="1100" dirty="0" err="1"/>
              <a:t>diésel</a:t>
            </a:r>
            <a:r>
              <a:rPr sz="1100" dirty="0"/>
              <a:t> </a:t>
            </a:r>
            <a:r>
              <a:rPr sz="1100" dirty="0" err="1"/>
              <a:t>mejorada</a:t>
            </a:r>
            <a:r>
              <a:rPr sz="1100" dirty="0"/>
              <a:t> (~4,4 % de </a:t>
            </a:r>
            <a:r>
              <a:rPr sz="1100" dirty="0" err="1"/>
              <a:t>ahorro</a:t>
            </a:r>
            <a:r>
              <a:rPr sz="1100" dirty="0"/>
              <a:t> de </a:t>
            </a:r>
            <a:r>
              <a:rPr sz="1100" dirty="0" err="1"/>
              <a:t>diésel</a:t>
            </a:r>
            <a:r>
              <a:rPr sz="1100" dirty="0"/>
              <a:t>)*</a:t>
            </a:r>
            <a:endParaRPr lang="en-GB" sz="1100" noProof="0" dirty="0">
              <a:ea typeface="Roboto Light"/>
              <a:cs typeface="Roboto Light"/>
            </a:endParaRPr>
          </a:p>
          <a:p>
            <a:pPr marL="198755" indent="-198755"/>
            <a:r>
              <a:rPr sz="1100" dirty="0"/>
              <a:t>Compatible con </a:t>
            </a:r>
            <a:r>
              <a:rPr sz="1100" dirty="0" err="1"/>
              <a:t>biocombustible</a:t>
            </a:r>
            <a:r>
              <a:rPr sz="1100" dirty="0"/>
              <a:t> (hasta un 80% de </a:t>
            </a:r>
            <a:r>
              <a:rPr sz="1100" dirty="0" err="1"/>
              <a:t>reducción</a:t>
            </a:r>
            <a:r>
              <a:rPr sz="1100" dirty="0"/>
              <a:t> de CO2)</a:t>
            </a:r>
            <a:endParaRPr lang="en-GB" sz="1100" noProof="0" dirty="0">
              <a:ea typeface="Roboto Light"/>
              <a:cs typeface="Roboto Light"/>
            </a:endParaRPr>
          </a:p>
          <a:p>
            <a:pPr marL="198755" indent="-198755"/>
            <a:r>
              <a:rPr sz="1100" dirty="0"/>
              <a:t>Sistema de </a:t>
            </a:r>
            <a:r>
              <a:rPr sz="1100" dirty="0" err="1"/>
              <a:t>detección</a:t>
            </a:r>
            <a:r>
              <a:rPr sz="1100" dirty="0"/>
              <a:t> de llama </a:t>
            </a:r>
            <a:r>
              <a:rPr sz="1100" dirty="0" err="1"/>
              <a:t>mejorado</a:t>
            </a:r>
            <a:r>
              <a:rPr sz="1100" dirty="0"/>
              <a:t> y </a:t>
            </a:r>
            <a:r>
              <a:rPr sz="1100" dirty="0" err="1"/>
              <a:t>pendiente</a:t>
            </a:r>
            <a:r>
              <a:rPr sz="1100" dirty="0"/>
              <a:t> de </a:t>
            </a:r>
            <a:r>
              <a:rPr sz="1100" dirty="0" err="1"/>
              <a:t>patente</a:t>
            </a:r>
            <a:endParaRPr lang="en-GB" sz="1100" noProof="0" dirty="0">
              <a:ea typeface="Roboto Light"/>
              <a:cs typeface="Roboto Light"/>
            </a:endParaRPr>
          </a:p>
          <a:p>
            <a:pPr marL="198755" indent="-198755"/>
            <a:r>
              <a:rPr sz="1100" dirty="0"/>
              <a:t>Sistema de </a:t>
            </a:r>
            <a:r>
              <a:rPr sz="1100" dirty="0" err="1"/>
              <a:t>dosificación</a:t>
            </a:r>
            <a:r>
              <a:rPr sz="1100" dirty="0"/>
              <a:t> de </a:t>
            </a:r>
            <a:r>
              <a:rPr sz="1100" dirty="0" err="1"/>
              <a:t>detergente</a:t>
            </a:r>
            <a:r>
              <a:rPr sz="1100" dirty="0"/>
              <a:t> </a:t>
            </a:r>
            <a:r>
              <a:rPr sz="1100" dirty="0" err="1"/>
              <a:t>mejorado</a:t>
            </a:r>
            <a:r>
              <a:rPr sz="1100" dirty="0"/>
              <a:t> y </a:t>
            </a:r>
            <a:r>
              <a:rPr sz="1100" dirty="0" err="1"/>
              <a:t>pendiente</a:t>
            </a:r>
            <a:r>
              <a:rPr sz="1100" dirty="0"/>
              <a:t> de </a:t>
            </a:r>
            <a:r>
              <a:rPr sz="1100" dirty="0" err="1"/>
              <a:t>patente</a:t>
            </a:r>
            <a:endParaRPr lang="en-GB" sz="1100" noProof="0" dirty="0">
              <a:ea typeface="Roboto Light"/>
              <a:cs typeface="Roboto Light"/>
            </a:endParaRPr>
          </a:p>
          <a:p>
            <a:pPr marL="0" indent="0">
              <a:buNone/>
            </a:pPr>
            <a:endParaRPr lang="en-GB" sz="1100" noProof="0" dirty="0"/>
          </a:p>
          <a:p>
            <a:pPr marL="0" indent="0">
              <a:buNone/>
            </a:pPr>
            <a:r>
              <a:rPr sz="1100" dirty="0" err="1">
                <a:latin typeface="+mj-lt"/>
              </a:rPr>
              <a:t>Experiencia</a:t>
            </a:r>
            <a:r>
              <a:rPr sz="1100" dirty="0">
                <a:latin typeface="+mj-lt"/>
              </a:rPr>
              <a:t> del </a:t>
            </a:r>
            <a:r>
              <a:rPr sz="1100" dirty="0" err="1">
                <a:latin typeface="+mj-lt"/>
              </a:rPr>
              <a:t>usuario</a:t>
            </a:r>
            <a:endParaRPr lang="en-GB" sz="1100" noProof="0" dirty="0">
              <a:latin typeface="+mj-lt"/>
              <a:ea typeface="Roboto Bold"/>
              <a:cs typeface="Roboto Bold"/>
            </a:endParaRPr>
          </a:p>
          <a:p>
            <a:pPr marL="198755" indent="-198755"/>
            <a:r>
              <a:rPr sz="1100" dirty="0"/>
              <a:t>Puntos de </a:t>
            </a:r>
            <a:r>
              <a:rPr sz="1100" dirty="0" err="1"/>
              <a:t>contacto</a:t>
            </a:r>
            <a:r>
              <a:rPr sz="1100" dirty="0"/>
              <a:t> </a:t>
            </a:r>
            <a:r>
              <a:rPr sz="1100" dirty="0" err="1"/>
              <a:t>destacados</a:t>
            </a:r>
            <a:endParaRPr lang="en-GB" sz="1100" noProof="0" dirty="0">
              <a:ea typeface="Roboto Light"/>
              <a:cs typeface="Roboto Light"/>
            </a:endParaRPr>
          </a:p>
          <a:p>
            <a:pPr marL="198755" indent="-198755"/>
            <a:r>
              <a:rPr sz="1100" dirty="0" err="1"/>
              <a:t>Modos</a:t>
            </a:r>
            <a:r>
              <a:rPr sz="1100" dirty="0"/>
              <a:t> de </a:t>
            </a:r>
            <a:r>
              <a:rPr sz="1100" dirty="0" err="1"/>
              <a:t>limpieza</a:t>
            </a:r>
            <a:r>
              <a:rPr sz="1100" dirty="0"/>
              <a:t> </a:t>
            </a:r>
            <a:r>
              <a:rPr sz="1100" dirty="0" err="1"/>
              <a:t>personalizables</a:t>
            </a:r>
            <a:r>
              <a:rPr sz="1100" dirty="0"/>
              <a:t> con </a:t>
            </a:r>
            <a:r>
              <a:rPr sz="1100" dirty="0" err="1"/>
              <a:t>función</a:t>
            </a:r>
            <a:r>
              <a:rPr sz="1100" dirty="0"/>
              <a:t> de </a:t>
            </a:r>
            <a:r>
              <a:rPr sz="1100" dirty="0" err="1"/>
              <a:t>bloqueo</a:t>
            </a:r>
            <a:r>
              <a:rPr sz="1100" dirty="0"/>
              <a:t>*</a:t>
            </a:r>
            <a:endParaRPr lang="en-GB" sz="1100" noProof="0" dirty="0">
              <a:ea typeface="Roboto Light"/>
              <a:cs typeface="Roboto Light"/>
            </a:endParaRPr>
          </a:p>
          <a:p>
            <a:pPr marL="198755" indent="-198755"/>
            <a:r>
              <a:rPr sz="1100" dirty="0"/>
              <a:t>Puntos de </a:t>
            </a:r>
            <a:r>
              <a:rPr sz="1100" dirty="0" err="1"/>
              <a:t>acceso</a:t>
            </a:r>
            <a:r>
              <a:rPr sz="1100" dirty="0"/>
              <a:t> para combustible y </a:t>
            </a:r>
            <a:r>
              <a:rPr sz="1100" dirty="0" err="1"/>
              <a:t>mantenimiento</a:t>
            </a:r>
            <a:r>
              <a:rPr sz="1100" dirty="0"/>
              <a:t> del </a:t>
            </a:r>
            <a:r>
              <a:rPr sz="1100" dirty="0" err="1"/>
              <a:t>sistema</a:t>
            </a:r>
            <a:r>
              <a:rPr sz="1100" dirty="0"/>
              <a:t> </a:t>
            </a:r>
            <a:r>
              <a:rPr sz="1100" dirty="0" err="1"/>
              <a:t>antigrava</a:t>
            </a:r>
            <a:r>
              <a:rPr sz="1100" dirty="0"/>
              <a:t>*</a:t>
            </a:r>
            <a:endParaRPr lang="en-GB" sz="1100" noProof="0" dirty="0">
              <a:ea typeface="Roboto Light"/>
              <a:cs typeface="Roboto Light"/>
            </a:endParaRPr>
          </a:p>
          <a:p>
            <a:pPr marL="198755" indent="-198755"/>
            <a:r>
              <a:rPr sz="1100" dirty="0" err="1"/>
              <a:t>Guías</a:t>
            </a:r>
            <a:r>
              <a:rPr sz="1100" dirty="0"/>
              <a:t> de </a:t>
            </a:r>
            <a:r>
              <a:rPr sz="1100" dirty="0" err="1"/>
              <a:t>mantenimiento</a:t>
            </a:r>
            <a:r>
              <a:rPr sz="1100" dirty="0"/>
              <a:t> </a:t>
            </a:r>
            <a:r>
              <a:rPr sz="1100" dirty="0" err="1"/>
              <a:t>rutinario</a:t>
            </a:r>
            <a:r>
              <a:rPr sz="1100" dirty="0"/>
              <a:t>* (</a:t>
            </a:r>
            <a:r>
              <a:rPr sz="1100" dirty="0" err="1"/>
              <a:t>patente</a:t>
            </a:r>
            <a:r>
              <a:rPr sz="1100" dirty="0"/>
              <a:t> </a:t>
            </a:r>
            <a:r>
              <a:rPr sz="1100" dirty="0" err="1"/>
              <a:t>en</a:t>
            </a:r>
            <a:r>
              <a:rPr sz="1100" dirty="0"/>
              <a:t> </a:t>
            </a:r>
            <a:r>
              <a:rPr sz="1100" dirty="0" err="1"/>
              <a:t>trámite</a:t>
            </a:r>
            <a:r>
              <a:rPr sz="1100" dirty="0"/>
              <a:t>)</a:t>
            </a:r>
            <a:endParaRPr lang="en-GB" sz="1100" noProof="0" dirty="0">
              <a:ea typeface="Roboto Light"/>
              <a:cs typeface="Roboto Light"/>
            </a:endParaRPr>
          </a:p>
          <a:p>
            <a:pPr marL="198755" indent="-198755"/>
            <a:r>
              <a:rPr sz="1100" dirty="0" err="1"/>
              <a:t>Conectividad</a:t>
            </a:r>
            <a:r>
              <a:rPr sz="1100" dirty="0"/>
              <a:t> </a:t>
            </a:r>
            <a:r>
              <a:rPr sz="1100" dirty="0" err="1"/>
              <a:t>mediante</a:t>
            </a:r>
            <a:r>
              <a:rPr sz="1100" dirty="0"/>
              <a:t> la app para </a:t>
            </a:r>
            <a:r>
              <a:rPr sz="1100" dirty="0" err="1"/>
              <a:t>optimizar</a:t>
            </a:r>
            <a:r>
              <a:rPr sz="1100" dirty="0"/>
              <a:t> </a:t>
            </a:r>
            <a:r>
              <a:rPr sz="1100" dirty="0" err="1"/>
              <a:t>el</a:t>
            </a:r>
            <a:r>
              <a:rPr sz="1100" dirty="0"/>
              <a:t> </a:t>
            </a:r>
            <a:r>
              <a:rPr sz="1100" dirty="0" err="1"/>
              <a:t>servicio</a:t>
            </a:r>
            <a:endParaRPr lang="en-GB" sz="1100" noProof="0" dirty="0">
              <a:ea typeface="Roboto Light"/>
              <a:cs typeface="Roboto Light"/>
            </a:endParaRPr>
          </a:p>
          <a:p>
            <a:pPr marL="198755" indent="-198755"/>
            <a:endParaRPr lang="en-GB" sz="1100" noProof="0" dirty="0">
              <a:ea typeface="Roboto Light"/>
              <a:cs typeface="Roboto Light"/>
            </a:endParaRPr>
          </a:p>
          <a:p>
            <a:pPr marL="0" indent="0">
              <a:buNone/>
            </a:pPr>
            <a:r>
              <a:rPr sz="1100" dirty="0" err="1">
                <a:latin typeface="+mj-lt"/>
              </a:rPr>
              <a:t>Diseño</a:t>
            </a:r>
            <a:r>
              <a:rPr sz="1100" dirty="0">
                <a:latin typeface="+mj-lt"/>
              </a:rPr>
              <a:t> </a:t>
            </a:r>
            <a:r>
              <a:rPr sz="1100" dirty="0" err="1">
                <a:latin typeface="+mj-lt"/>
              </a:rPr>
              <a:t>moderno</a:t>
            </a:r>
            <a:endParaRPr lang="en-GB" sz="1100" noProof="0" dirty="0">
              <a:latin typeface="+mj-lt"/>
              <a:ea typeface="Roboto Bold"/>
              <a:cs typeface="Roboto Bold"/>
            </a:endParaRPr>
          </a:p>
          <a:p>
            <a:pPr marL="198755" indent="-198755"/>
            <a:r>
              <a:rPr sz="1100" dirty="0"/>
              <a:t>Colores de Nilfisk </a:t>
            </a:r>
            <a:r>
              <a:rPr sz="1100" dirty="0" err="1"/>
              <a:t>actualizados</a:t>
            </a:r>
            <a:endParaRPr lang="en-GB" sz="1100" noProof="0" dirty="0">
              <a:ea typeface="Roboto Light"/>
              <a:cs typeface="Roboto Light"/>
            </a:endParaRPr>
          </a:p>
          <a:p>
            <a:pPr marL="198755" indent="-198755"/>
            <a:r>
              <a:rPr sz="1100" dirty="0" err="1"/>
              <a:t>Embalaje</a:t>
            </a:r>
            <a:r>
              <a:rPr sz="1100" dirty="0"/>
              <a:t> </a:t>
            </a:r>
            <a:r>
              <a:rPr sz="1100" dirty="0" err="1"/>
              <a:t>mejorado</a:t>
            </a:r>
            <a:r>
              <a:rPr sz="1100" dirty="0"/>
              <a:t> (PAC)</a:t>
            </a:r>
            <a:endParaRPr lang="en-GB" sz="1100" noProof="0" dirty="0">
              <a:ea typeface="Roboto Light"/>
              <a:cs typeface="Roboto Light"/>
            </a:endParaRPr>
          </a:p>
          <a:p>
            <a:pPr marL="198755" indent="-198755"/>
            <a:endParaRPr lang="en-GB" sz="1100" noProof="0" dirty="0">
              <a:ea typeface="Roboto Light"/>
              <a:cs typeface="Roboto Light"/>
            </a:endParaRPr>
          </a:p>
          <a:p>
            <a:pPr marL="0" indent="0">
              <a:buNone/>
            </a:pPr>
            <a:r>
              <a:rPr sz="1100" dirty="0">
                <a:latin typeface="+mj-lt"/>
              </a:rPr>
              <a:t>Soluciones </a:t>
            </a:r>
            <a:r>
              <a:rPr sz="1100" dirty="0" err="1">
                <a:latin typeface="+mj-lt"/>
              </a:rPr>
              <a:t>específicas</a:t>
            </a:r>
            <a:r>
              <a:rPr sz="1100" dirty="0">
                <a:latin typeface="+mj-lt"/>
              </a:rPr>
              <a:t> </a:t>
            </a:r>
            <a:r>
              <a:rPr sz="1100" dirty="0" err="1">
                <a:latin typeface="+mj-lt"/>
              </a:rPr>
              <a:t>según</a:t>
            </a:r>
            <a:r>
              <a:rPr sz="1100" dirty="0">
                <a:latin typeface="+mj-lt"/>
              </a:rPr>
              <a:t> </a:t>
            </a:r>
            <a:r>
              <a:rPr sz="1100" dirty="0" err="1">
                <a:latin typeface="+mj-lt"/>
              </a:rPr>
              <a:t>características</a:t>
            </a:r>
            <a:endParaRPr lang="en-GB" sz="1100" noProof="0" dirty="0">
              <a:latin typeface="+mj-lt"/>
              <a:ea typeface="Roboto Bold"/>
              <a:cs typeface="Roboto Bold"/>
            </a:endParaRPr>
          </a:p>
          <a:p>
            <a:pPr marL="198755" indent="-198755"/>
            <a:r>
              <a:rPr sz="1100" dirty="0"/>
              <a:t>Conjunto </a:t>
            </a:r>
            <a:r>
              <a:rPr sz="1100" dirty="0" err="1"/>
              <a:t>avanzado</a:t>
            </a:r>
            <a:r>
              <a:rPr sz="1100" dirty="0"/>
              <a:t> de </a:t>
            </a:r>
            <a:r>
              <a:rPr sz="1100" dirty="0" err="1"/>
              <a:t>especificaciones</a:t>
            </a:r>
            <a:r>
              <a:rPr sz="1100" dirty="0"/>
              <a:t> </a:t>
            </a:r>
            <a:r>
              <a:rPr sz="1100" dirty="0" err="1"/>
              <a:t>técnicas</a:t>
            </a:r>
            <a:endParaRPr lang="en-GB" sz="1100" noProof="0" dirty="0">
              <a:ea typeface="Roboto Light"/>
              <a:cs typeface="Roboto Light"/>
            </a:endParaRPr>
          </a:p>
          <a:p>
            <a:pPr marL="198755" indent="-198755"/>
            <a:r>
              <a:rPr sz="1100" dirty="0"/>
              <a:t>Conjunto de </a:t>
            </a:r>
            <a:r>
              <a:rPr sz="1100" dirty="0" err="1"/>
              <a:t>características</a:t>
            </a:r>
            <a:r>
              <a:rPr sz="1100" dirty="0"/>
              <a:t> </a:t>
            </a:r>
            <a:r>
              <a:rPr sz="1100" dirty="0" err="1"/>
              <a:t>estándar</a:t>
            </a:r>
            <a:endParaRPr lang="en-GB" sz="1100" noProof="0" dirty="0">
              <a:ea typeface="Roboto Light"/>
              <a:cs typeface="Roboto Light"/>
            </a:endParaRPr>
          </a:p>
          <a:p>
            <a:pPr marL="198755" indent="-198755"/>
            <a:endParaRPr lang="en-GB" sz="1050" noProof="0" dirty="0">
              <a:ea typeface="Roboto Light"/>
              <a:cs typeface="Roboto Light"/>
            </a:endParaRPr>
          </a:p>
          <a:p>
            <a:pPr marL="198755" indent="-198755"/>
            <a:endParaRPr lang="en-GB" noProof="0" dirty="0">
              <a:ea typeface="Roboto Light"/>
              <a:cs typeface="Roboto Light"/>
            </a:endParaRPr>
          </a:p>
        </p:txBody>
      </p:sp>
      <p:sp>
        <p:nvSpPr>
          <p:cNvPr id="4" name="Pladsholder til sidefod 3">
            <a:extLst>
              <a:ext uri="{FF2B5EF4-FFF2-40B4-BE49-F238E27FC236}">
                <a16:creationId xmlns:a16="http://schemas.microsoft.com/office/drawing/2014/main" id="{9524568A-B73B-20D0-1ADC-75EB09F2926D}"/>
              </a:ext>
            </a:extLst>
          </p:cNvPr>
          <p:cNvSpPr>
            <a:spLocks noGrp="1"/>
          </p:cNvSpPr>
          <p:nvPr>
            <p:ph type="ftr" sz="quarter" idx="21"/>
          </p:nvPr>
        </p:nvSpPr>
        <p:spPr/>
        <p:txBody>
          <a:bodyPr/>
          <a:lstStyle/>
          <a:p>
            <a:pPr algn="l"/>
            <a:r>
              <a:t>INFORMACIÓN CONFIDENCIAL DE LA EMPRESA</a:t>
            </a:r>
          </a:p>
        </p:txBody>
      </p:sp>
      <p:sp>
        <p:nvSpPr>
          <p:cNvPr id="5" name="Pladsholder til slidenummer 4">
            <a:extLst>
              <a:ext uri="{FF2B5EF4-FFF2-40B4-BE49-F238E27FC236}">
                <a16:creationId xmlns:a16="http://schemas.microsoft.com/office/drawing/2014/main" id="{8B5F3420-F466-425E-FA0B-0DAD995564BE}"/>
              </a:ext>
            </a:extLst>
          </p:cNvPr>
          <p:cNvSpPr>
            <a:spLocks noGrp="1"/>
          </p:cNvSpPr>
          <p:nvPr>
            <p:ph type="sldNum" sz="quarter" idx="22"/>
          </p:nvPr>
        </p:nvSpPr>
        <p:spPr/>
        <p:txBody>
          <a:bodyPr/>
          <a:lstStyle/>
          <a:p>
            <a:fld id="{6C385236-B7BA-4938-9EA6-6DEC8CA653D7}" type="slidenum">
              <a:rPr lang="en-GB" noProof="0" smtClean="0"/>
              <a:pPr/>
              <a:t>13</a:t>
            </a:fld>
            <a:endParaRPr lang="en-GB" noProof="0" dirty="0"/>
          </a:p>
        </p:txBody>
      </p:sp>
      <p:sp>
        <p:nvSpPr>
          <p:cNvPr id="6" name="Pladsholder til tekst 5">
            <a:extLst>
              <a:ext uri="{FF2B5EF4-FFF2-40B4-BE49-F238E27FC236}">
                <a16:creationId xmlns:a16="http://schemas.microsoft.com/office/drawing/2014/main" id="{62686E27-0D40-C5FA-77B2-30929EE455E8}"/>
              </a:ext>
            </a:extLst>
          </p:cNvPr>
          <p:cNvSpPr>
            <a:spLocks noGrp="1"/>
          </p:cNvSpPr>
          <p:nvPr>
            <p:ph type="body" sz="quarter" idx="14"/>
          </p:nvPr>
        </p:nvSpPr>
        <p:spPr/>
        <p:txBody>
          <a:bodyPr/>
          <a:lstStyle/>
          <a:p>
            <a:r>
              <a:rPr dirty="0"/>
              <a:t>Avanzado y </a:t>
            </a:r>
            <a:r>
              <a:rPr dirty="0" err="1"/>
              <a:t>Estándar</a:t>
            </a:r>
            <a:endParaRPr dirty="0"/>
          </a:p>
        </p:txBody>
      </p:sp>
      <p:sp>
        <p:nvSpPr>
          <p:cNvPr id="7" name="Titel 6">
            <a:extLst>
              <a:ext uri="{FF2B5EF4-FFF2-40B4-BE49-F238E27FC236}">
                <a16:creationId xmlns:a16="http://schemas.microsoft.com/office/drawing/2014/main" id="{856E51A6-E66C-D855-8EF6-CBB4549C89E5}"/>
              </a:ext>
            </a:extLst>
          </p:cNvPr>
          <p:cNvSpPr>
            <a:spLocks noGrp="1"/>
          </p:cNvSpPr>
          <p:nvPr>
            <p:ph type="title"/>
          </p:nvPr>
        </p:nvSpPr>
        <p:spPr>
          <a:xfrm>
            <a:off x="323977" y="375789"/>
            <a:ext cx="5506081" cy="388013"/>
          </a:xfrm>
        </p:spPr>
        <p:txBody>
          <a:bodyPr/>
          <a:lstStyle/>
          <a:p>
            <a:r>
              <a:rPr dirty="0" err="1"/>
              <a:t>Nuevas</a:t>
            </a:r>
            <a:r>
              <a:rPr dirty="0"/>
              <a:t> </a:t>
            </a:r>
            <a:r>
              <a:rPr dirty="0" err="1"/>
              <a:t>prestaciones</a:t>
            </a:r>
            <a:r>
              <a:rPr dirty="0"/>
              <a:t> y </a:t>
            </a:r>
            <a:r>
              <a:rPr dirty="0" err="1"/>
              <a:t>mejoras</a:t>
            </a:r>
            <a:endParaRPr dirty="0"/>
          </a:p>
        </p:txBody>
      </p:sp>
      <p:sp>
        <p:nvSpPr>
          <p:cNvPr id="13" name="Pladsholder til indhold 3">
            <a:extLst>
              <a:ext uri="{FF2B5EF4-FFF2-40B4-BE49-F238E27FC236}">
                <a16:creationId xmlns:a16="http://schemas.microsoft.com/office/drawing/2014/main" id="{9A4A9332-BB0D-E828-6E48-251704C2E3A2}"/>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sz="900"/>
              <a:t>Solo en modelos avanzados</a:t>
            </a:r>
          </a:p>
        </p:txBody>
      </p:sp>
    </p:spTree>
    <p:extLst>
      <p:ext uri="{BB962C8B-B14F-4D97-AF65-F5344CB8AC3E}">
        <p14:creationId xmlns:p14="http://schemas.microsoft.com/office/powerpoint/2010/main" val="24829177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4D647-C8D8-5325-51A9-699D3EB00F9B}"/>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01C781F5-FC37-1A6D-D72D-966C66D511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6" name="think-cell data - do not delete" hidden="1">
                        <a:extLst>
                          <a:ext uri="{FF2B5EF4-FFF2-40B4-BE49-F238E27FC236}">
                            <a16:creationId xmlns:a16="http://schemas.microsoft.com/office/drawing/2014/main" id="{01C781F5-FC37-1A6D-D72D-966C66D511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BBA1CAC0-A35E-7893-9F3F-32DAE0C6E3BC}"/>
              </a:ext>
            </a:extLst>
          </p:cNvPr>
          <p:cNvSpPr>
            <a:spLocks noGrp="1"/>
          </p:cNvSpPr>
          <p:nvPr>
            <p:ph type="ftr" sz="quarter" idx="16"/>
          </p:nvPr>
        </p:nvSpPr>
        <p:spPr/>
        <p: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b="0" i="0" u="none">
                <a:solidFill>
                  <a:srgbClr val="B3BBC5"/>
                </a:solidFill>
                <a:latin typeface="Roboto Light"/>
              </a:rPr>
              <a:t>INFORMACIÓN CONFIDENCIAL DE LA EMPRESA</a:t>
            </a:r>
          </a:p>
        </p:txBody>
      </p:sp>
      <p:sp>
        <p:nvSpPr>
          <p:cNvPr id="3" name="Slide Number Placeholder 2">
            <a:extLst>
              <a:ext uri="{FF2B5EF4-FFF2-40B4-BE49-F238E27FC236}">
                <a16:creationId xmlns:a16="http://schemas.microsoft.com/office/drawing/2014/main" id="{86AE0C9C-F723-A26B-B550-3EF0D580E92D}"/>
              </a:ext>
            </a:extLst>
          </p:cNvPr>
          <p:cNvSpPr>
            <a:spLocks noGrp="1"/>
          </p:cNvSpPr>
          <p:nvPr>
            <p:ph type="sldNum" sz="quarter" idx="17"/>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lang="en-GB"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dirty="0">
              <a:ln>
                <a:noFill/>
              </a:ln>
              <a:solidFill>
                <a:srgbClr val="B3BBC5"/>
              </a:solidFill>
              <a:effectLst/>
              <a:uLnTx/>
              <a:uFillTx/>
              <a:latin typeface="Roboto Light"/>
              <a:ea typeface="+mn-ea"/>
              <a:cs typeface="+mn-cs"/>
            </a:endParaRPr>
          </a:p>
        </p:txBody>
      </p:sp>
      <p:cxnSp>
        <p:nvCxnSpPr>
          <p:cNvPr id="41" name="Straight Connector 40">
            <a:extLst>
              <a:ext uri="{FF2B5EF4-FFF2-40B4-BE49-F238E27FC236}">
                <a16:creationId xmlns:a16="http://schemas.microsoft.com/office/drawing/2014/main" id="{61A61FC4-FB5E-57E4-03ED-587DE78F5019}"/>
              </a:ext>
            </a:extLst>
          </p:cNvPr>
          <p:cNvCxnSpPr>
            <a:cxnSpLocks/>
          </p:cNvCxnSpPr>
          <p:nvPr/>
        </p:nvCxnSpPr>
        <p:spPr>
          <a:xfrm>
            <a:off x="479425" y="3696211"/>
            <a:ext cx="108478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79DC80B-3F0A-69F2-A2DE-02058F992AF0}"/>
              </a:ext>
            </a:extLst>
          </p:cNvPr>
          <p:cNvSpPr txBox="1"/>
          <p:nvPr/>
        </p:nvSpPr>
        <p:spPr>
          <a:xfrm>
            <a:off x="5376717" y="3252843"/>
            <a:ext cx="950901" cy="443368"/>
          </a:xfrm>
          <a:prstGeom prst="rect">
            <a:avLst/>
          </a:prstGeom>
          <a:noFill/>
        </p:spPr>
        <p:txBody>
          <a:bodyPr wrap="none" bIns="180000" rtlCol="0">
            <a:spAutoFit/>
          </a:bodyPr>
          <a:lstStyle/>
          <a:p>
            <a:r>
              <a:rPr sz="1400" dirty="0" err="1"/>
              <a:t>Compacto</a:t>
            </a:r>
            <a:endParaRPr sz="1400" dirty="0"/>
          </a:p>
        </p:txBody>
      </p:sp>
      <p:sp>
        <p:nvSpPr>
          <p:cNvPr id="44" name="TextBox 43">
            <a:extLst>
              <a:ext uri="{FF2B5EF4-FFF2-40B4-BE49-F238E27FC236}">
                <a16:creationId xmlns:a16="http://schemas.microsoft.com/office/drawing/2014/main" id="{43AE2088-9B14-5106-A99C-7BED6A10644A}"/>
              </a:ext>
            </a:extLst>
          </p:cNvPr>
          <p:cNvSpPr txBox="1"/>
          <p:nvPr/>
        </p:nvSpPr>
        <p:spPr>
          <a:xfrm>
            <a:off x="7195855" y="3252843"/>
            <a:ext cx="830677" cy="443368"/>
          </a:xfrm>
          <a:prstGeom prst="rect">
            <a:avLst/>
          </a:prstGeom>
          <a:noFill/>
        </p:spPr>
        <p:txBody>
          <a:bodyPr wrap="none" bIns="180000" rtlCol="0">
            <a:spAutoFit/>
          </a:bodyPr>
          <a:lstStyle/>
          <a:p>
            <a:r>
              <a:rPr sz="1400" dirty="0"/>
              <a:t>Medio</a:t>
            </a:r>
          </a:p>
        </p:txBody>
      </p:sp>
      <p:sp>
        <p:nvSpPr>
          <p:cNvPr id="50" name="TextBox 49">
            <a:extLst>
              <a:ext uri="{FF2B5EF4-FFF2-40B4-BE49-F238E27FC236}">
                <a16:creationId xmlns:a16="http://schemas.microsoft.com/office/drawing/2014/main" id="{76609425-9B7F-7105-88F3-0E68E45A65A0}"/>
              </a:ext>
            </a:extLst>
          </p:cNvPr>
          <p:cNvSpPr txBox="1"/>
          <p:nvPr/>
        </p:nvSpPr>
        <p:spPr>
          <a:xfrm>
            <a:off x="479425" y="1293589"/>
            <a:ext cx="3310522" cy="2402622"/>
          </a:xfrm>
          <a:prstGeom prst="rect">
            <a:avLst/>
          </a:prstGeom>
          <a:noFill/>
        </p:spPr>
        <p:txBody>
          <a:bodyPr wrap="none" lIns="0" tIns="0" rIns="0" bIns="180000" rtlCol="0">
            <a:spAutoFit/>
          </a:bodyPr>
          <a:lstStyle/>
          <a:p>
            <a:r>
              <a:rPr sz="1400">
                <a:latin typeface="Roboto Bold"/>
              </a:rPr>
              <a:t>Gama Avanzada – MH35-85</a:t>
            </a:r>
          </a:p>
          <a:p>
            <a:endParaRPr lang="en-GB" sz="1400" noProof="0" dirty="0"/>
          </a:p>
          <a:p>
            <a:pPr marL="180000" indent="-180000">
              <a:lnSpc>
                <a:spcPct val="120000"/>
              </a:lnSpc>
              <a:buFont typeface="Arial" panose="020B0604020202020204" pitchFamily="34" charset="0"/>
              <a:buChar char="•"/>
            </a:pPr>
            <a:r>
              <a:rPr sz="1400"/>
              <a:t>Caldera de alta eficiencia energética (~96% de eficiencia)</a:t>
            </a:r>
          </a:p>
          <a:p>
            <a:pPr marL="180000" indent="-180000">
              <a:lnSpc>
                <a:spcPct val="120000"/>
              </a:lnSpc>
              <a:buFont typeface="Arial" panose="020B0604020202020204" pitchFamily="34" charset="0"/>
              <a:buChar char="•"/>
            </a:pPr>
            <a:r>
              <a:rPr sz="1400"/>
              <a:t>Compatible con biocombustibles</a:t>
            </a:r>
          </a:p>
          <a:p>
            <a:pPr marL="180000" indent="-180000">
              <a:lnSpc>
                <a:spcPct val="120000"/>
              </a:lnSpc>
              <a:buFont typeface="Arial" panose="020B0604020202020204" pitchFamily="34" charset="0"/>
              <a:buChar char="•"/>
            </a:pPr>
            <a:r>
              <a:rPr sz="1400"/>
              <a:t>Nuevas opciones de color (PBLS)</a:t>
            </a:r>
          </a:p>
          <a:p>
            <a:pPr marL="180000" indent="-180000">
              <a:lnSpc>
                <a:spcPct val="120000"/>
              </a:lnSpc>
              <a:buFont typeface="Arial" panose="020B0604020202020204" pitchFamily="34" charset="0"/>
              <a:buChar char="•"/>
            </a:pPr>
            <a:r>
              <a:rPr sz="1400"/>
              <a:t>Reducción de las emisiones de CO2 (hasta un 80%)</a:t>
            </a:r>
          </a:p>
          <a:p>
            <a:pPr marL="180000" indent="-180000">
              <a:lnSpc>
                <a:spcPct val="120000"/>
              </a:lnSpc>
              <a:buFont typeface="Arial" panose="020B0604020202020204" pitchFamily="34" charset="0"/>
              <a:buChar char="•"/>
            </a:pPr>
            <a:r>
              <a:rPr sz="1400"/>
              <a:t>Interfaz de usuario personalizable</a:t>
            </a:r>
          </a:p>
          <a:p>
            <a:pPr marL="180000" indent="-180000">
              <a:lnSpc>
                <a:spcPct val="120000"/>
              </a:lnSpc>
              <a:buFont typeface="Arial" panose="020B0604020202020204" pitchFamily="34" charset="0"/>
              <a:buChar char="•"/>
            </a:pPr>
            <a:r>
              <a:rPr sz="1400"/>
              <a:t>Todas las características</a:t>
            </a:r>
          </a:p>
          <a:p>
            <a:pPr marL="180000" indent="-180000">
              <a:lnSpc>
                <a:spcPct val="120000"/>
              </a:lnSpc>
              <a:buFont typeface="Arial" panose="020B0604020202020204" pitchFamily="34" charset="0"/>
              <a:buChar char="•"/>
            </a:pPr>
            <a:r>
              <a:rPr sz="1400"/>
              <a:t>Funciones de servicio mejoradas</a:t>
            </a:r>
          </a:p>
        </p:txBody>
      </p:sp>
      <p:sp>
        <p:nvSpPr>
          <p:cNvPr id="7" name="Title 6">
            <a:extLst>
              <a:ext uri="{FF2B5EF4-FFF2-40B4-BE49-F238E27FC236}">
                <a16:creationId xmlns:a16="http://schemas.microsoft.com/office/drawing/2014/main" id="{6FCB4001-09DC-3037-8060-D472048D4B0D}"/>
              </a:ext>
            </a:extLst>
          </p:cNvPr>
          <p:cNvSpPr>
            <a:spLocks noGrp="1"/>
          </p:cNvSpPr>
          <p:nvPr>
            <p:ph type="title"/>
          </p:nvPr>
        </p:nvSpPr>
        <p:spPr>
          <a:xfrm>
            <a:off x="479425" y="494490"/>
            <a:ext cx="5506081" cy="388013"/>
          </a:xfrm>
        </p:spPr>
        <p:txBody>
          <a:bodyPr anchor="t">
            <a:noAutofit/>
          </a:bodyPr>
          <a:lstStyle/>
          <a:p>
            <a:r>
              <a:t>Gamas avanzadas y estándar</a:t>
            </a:r>
          </a:p>
        </p:txBody>
      </p:sp>
      <p:sp>
        <p:nvSpPr>
          <p:cNvPr id="13" name="TextBox 48">
            <a:extLst>
              <a:ext uri="{FF2B5EF4-FFF2-40B4-BE49-F238E27FC236}">
                <a16:creationId xmlns:a16="http://schemas.microsoft.com/office/drawing/2014/main" id="{6C3377A9-50DE-4DBA-EEB8-60B316754C4A}"/>
              </a:ext>
            </a:extLst>
          </p:cNvPr>
          <p:cNvSpPr txBox="1"/>
          <p:nvPr/>
        </p:nvSpPr>
        <p:spPr>
          <a:xfrm>
            <a:off x="479424" y="3995828"/>
            <a:ext cx="3375899" cy="2263953"/>
          </a:xfrm>
          <a:prstGeom prst="rect">
            <a:avLst/>
          </a:prstGeom>
          <a:noFill/>
        </p:spPr>
        <p:txBody>
          <a:bodyPr wrap="square" lIns="0" tIns="0" rIns="0" bIns="0" rtlCol="0">
            <a:spAutoFit/>
          </a:bodyPr>
          <a:lstStyle/>
          <a:p>
            <a:r>
              <a:rPr sz="1400">
                <a:latin typeface="+mj-lt"/>
              </a:rPr>
              <a:t>Gama estándar – MH20-70</a:t>
            </a:r>
          </a:p>
          <a:p>
            <a:pPr>
              <a:lnSpc>
                <a:spcPct val="120000"/>
              </a:lnSpc>
            </a:pPr>
            <a:endParaRPr lang="en-GB" sz="1400" noProof="0" dirty="0"/>
          </a:p>
          <a:p>
            <a:pPr marL="180000" indent="-180000">
              <a:lnSpc>
                <a:spcPct val="120000"/>
              </a:lnSpc>
              <a:buFont typeface="Arial" panose="020B0604020202020204" pitchFamily="34" charset="0"/>
              <a:buChar char="•"/>
            </a:pPr>
            <a:r>
              <a:rPr sz="1400"/>
              <a:t>Caldera EcoPower™ (aprox. 92% de eficiencia)</a:t>
            </a:r>
          </a:p>
          <a:p>
            <a:pPr marL="180000" indent="-180000">
              <a:lnSpc>
                <a:spcPct val="120000"/>
              </a:lnSpc>
              <a:buFont typeface="Arial" panose="020B0604020202020204" pitchFamily="34" charset="0"/>
              <a:buChar char="•"/>
            </a:pPr>
            <a:r>
              <a:rPr sz="1400"/>
              <a:t>Compatible con biocombustibles</a:t>
            </a:r>
          </a:p>
          <a:p>
            <a:pPr marL="180000" indent="-180000">
              <a:lnSpc>
                <a:spcPct val="120000"/>
              </a:lnSpc>
              <a:buFont typeface="Arial" panose="020B0604020202020204" pitchFamily="34" charset="0"/>
              <a:buChar char="•"/>
            </a:pPr>
            <a:r>
              <a:rPr sz="1400"/>
              <a:t>Nuevas opciones de color (PBLS)</a:t>
            </a:r>
          </a:p>
          <a:p>
            <a:pPr marL="180000" indent="-180000">
              <a:lnSpc>
                <a:spcPct val="120000"/>
              </a:lnSpc>
              <a:buFont typeface="Arial" panose="020B0604020202020204" pitchFamily="34" charset="0"/>
              <a:buChar char="•"/>
            </a:pPr>
            <a:r>
              <a:rPr sz="1400"/>
              <a:t>Reducción de las emisiones de CO2 (hasta un 80%)</a:t>
            </a:r>
          </a:p>
          <a:p>
            <a:pPr marL="180000" indent="-180000">
              <a:lnSpc>
                <a:spcPct val="120000"/>
              </a:lnSpc>
              <a:buFont typeface="Arial" panose="020B0604020202020204" pitchFamily="34" charset="0"/>
              <a:buChar char="•"/>
            </a:pPr>
            <a:r>
              <a:rPr sz="1400"/>
              <a:t>Características centradas</a:t>
            </a:r>
          </a:p>
          <a:p>
            <a:pPr marL="180000" indent="-180000">
              <a:lnSpc>
                <a:spcPct val="120000"/>
              </a:lnSpc>
              <a:buFont typeface="Arial" panose="020B0604020202020204" pitchFamily="34" charset="0"/>
              <a:buChar char="•"/>
            </a:pPr>
            <a:r>
              <a:rPr sz="1400"/>
              <a:t>Precio más accesible</a:t>
            </a:r>
          </a:p>
          <a:p>
            <a:pPr marL="180000" indent="-180000">
              <a:lnSpc>
                <a:spcPct val="120000"/>
              </a:lnSpc>
            </a:pPr>
            <a:endParaRPr lang="en-GB" sz="1400" noProof="0" dirty="0"/>
          </a:p>
        </p:txBody>
      </p:sp>
      <p:sp>
        <p:nvSpPr>
          <p:cNvPr id="19" name="TextBox 44">
            <a:extLst>
              <a:ext uri="{FF2B5EF4-FFF2-40B4-BE49-F238E27FC236}">
                <a16:creationId xmlns:a16="http://schemas.microsoft.com/office/drawing/2014/main" id="{93AFCDF6-3679-F105-743C-526CFF498160}"/>
              </a:ext>
            </a:extLst>
          </p:cNvPr>
          <p:cNvSpPr txBox="1"/>
          <p:nvPr/>
        </p:nvSpPr>
        <p:spPr>
          <a:xfrm>
            <a:off x="9087912" y="3252843"/>
            <a:ext cx="906017" cy="443368"/>
          </a:xfrm>
          <a:prstGeom prst="rect">
            <a:avLst/>
          </a:prstGeom>
          <a:noFill/>
        </p:spPr>
        <p:txBody>
          <a:bodyPr wrap="none" bIns="180000" rtlCol="0">
            <a:spAutoFit/>
          </a:bodyPr>
          <a:lstStyle/>
          <a:p>
            <a:r>
              <a:rPr sz="1400"/>
              <a:t>Premium</a:t>
            </a:r>
          </a:p>
        </p:txBody>
      </p:sp>
      <p:sp>
        <p:nvSpPr>
          <p:cNvPr id="10" name="TextBox 9">
            <a:extLst>
              <a:ext uri="{FF2B5EF4-FFF2-40B4-BE49-F238E27FC236}">
                <a16:creationId xmlns:a16="http://schemas.microsoft.com/office/drawing/2014/main" id="{2BFDA597-5C18-B1C7-7558-9B28485BC0D5}"/>
              </a:ext>
            </a:extLst>
          </p:cNvPr>
          <p:cNvSpPr txBox="1"/>
          <p:nvPr/>
        </p:nvSpPr>
        <p:spPr>
          <a:xfrm>
            <a:off x="5064952" y="5816413"/>
            <a:ext cx="950901" cy="443368"/>
          </a:xfrm>
          <a:prstGeom prst="rect">
            <a:avLst/>
          </a:prstGeom>
          <a:noFill/>
        </p:spPr>
        <p:txBody>
          <a:bodyPr wrap="none" bIns="180000" rtlCol="0">
            <a:spAutoFit/>
          </a:bodyPr>
          <a:lstStyle/>
          <a:p>
            <a:r>
              <a:rPr sz="1400"/>
              <a:t>Compacto</a:t>
            </a:r>
          </a:p>
        </p:txBody>
      </p:sp>
      <p:sp>
        <p:nvSpPr>
          <p:cNvPr id="14" name="TextBox 13">
            <a:extLst>
              <a:ext uri="{FF2B5EF4-FFF2-40B4-BE49-F238E27FC236}">
                <a16:creationId xmlns:a16="http://schemas.microsoft.com/office/drawing/2014/main" id="{14A05B23-ACCE-3C20-5A57-B647928AA1F3}"/>
              </a:ext>
            </a:extLst>
          </p:cNvPr>
          <p:cNvSpPr txBox="1"/>
          <p:nvPr/>
        </p:nvSpPr>
        <p:spPr>
          <a:xfrm>
            <a:off x="7007000" y="5816413"/>
            <a:ext cx="830677" cy="443368"/>
          </a:xfrm>
          <a:prstGeom prst="rect">
            <a:avLst/>
          </a:prstGeom>
          <a:noFill/>
        </p:spPr>
        <p:txBody>
          <a:bodyPr wrap="none" bIns="180000" rtlCol="0">
            <a:spAutoFit/>
          </a:bodyPr>
          <a:lstStyle/>
          <a:p>
            <a:r>
              <a:rPr sz="1400"/>
              <a:t>Medio</a:t>
            </a:r>
          </a:p>
        </p:txBody>
      </p:sp>
      <p:sp>
        <p:nvSpPr>
          <p:cNvPr id="15" name="TextBox 44">
            <a:extLst>
              <a:ext uri="{FF2B5EF4-FFF2-40B4-BE49-F238E27FC236}">
                <a16:creationId xmlns:a16="http://schemas.microsoft.com/office/drawing/2014/main" id="{484377F2-434E-6E79-977C-05708185A64B}"/>
              </a:ext>
            </a:extLst>
          </p:cNvPr>
          <p:cNvSpPr txBox="1"/>
          <p:nvPr/>
        </p:nvSpPr>
        <p:spPr>
          <a:xfrm>
            <a:off x="9087912" y="5816413"/>
            <a:ext cx="906017" cy="443368"/>
          </a:xfrm>
          <a:prstGeom prst="rect">
            <a:avLst/>
          </a:prstGeom>
          <a:noFill/>
        </p:spPr>
        <p:txBody>
          <a:bodyPr wrap="none" bIns="180000" rtlCol="0">
            <a:spAutoFit/>
          </a:bodyPr>
          <a:lstStyle/>
          <a:p>
            <a:r>
              <a:rPr sz="1400"/>
              <a:t>Premium</a:t>
            </a:r>
          </a:p>
        </p:txBody>
      </p:sp>
      <p:pic>
        <p:nvPicPr>
          <p:cNvPr id="9" name="Picture 8" descr="A black machine with wheels&#10;&#10;AI-generated content may be incorrect.">
            <a:extLst>
              <a:ext uri="{FF2B5EF4-FFF2-40B4-BE49-F238E27FC236}">
                <a16:creationId xmlns:a16="http://schemas.microsoft.com/office/drawing/2014/main" id="{2269CFC3-EEE1-7614-1AAF-8318D8C6D0D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554079" y="1214415"/>
            <a:ext cx="1736518" cy="2068519"/>
          </a:xfrm>
          <a:prstGeom prst="rect">
            <a:avLst/>
          </a:prstGeom>
        </p:spPr>
      </p:pic>
      <p:pic>
        <p:nvPicPr>
          <p:cNvPr id="18" name="Picture 17" descr="A machine with wheels on it&#10;&#10;AI-generated content may be incorrect.">
            <a:extLst>
              <a:ext uri="{FF2B5EF4-FFF2-40B4-BE49-F238E27FC236}">
                <a16:creationId xmlns:a16="http://schemas.microsoft.com/office/drawing/2014/main" id="{241AE0DA-2E15-6C1F-46B2-4C8D550A31A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267997" y="895990"/>
            <a:ext cx="2515671" cy="2653661"/>
          </a:xfrm>
          <a:prstGeom prst="rect">
            <a:avLst/>
          </a:prstGeom>
        </p:spPr>
      </p:pic>
      <p:pic>
        <p:nvPicPr>
          <p:cNvPr id="22" name="Picture 21" descr="A black and blue machine with wheels&#10;&#10;AI-generated content may be incorrect.">
            <a:extLst>
              <a:ext uri="{FF2B5EF4-FFF2-40B4-BE49-F238E27FC236}">
                <a16:creationId xmlns:a16="http://schemas.microsoft.com/office/drawing/2014/main" id="{4228A929-BE71-663F-03C1-0145F2FE777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616822" y="3842771"/>
            <a:ext cx="1736518" cy="2020557"/>
          </a:xfrm>
          <a:prstGeom prst="rect">
            <a:avLst/>
          </a:prstGeom>
        </p:spPr>
      </p:pic>
      <p:pic>
        <p:nvPicPr>
          <p:cNvPr id="27" name="Picture 26" descr="A machine with wheels and a hose&#10;&#10;AI-generated content may be incorrect.">
            <a:extLst>
              <a:ext uri="{FF2B5EF4-FFF2-40B4-BE49-F238E27FC236}">
                <a16:creationId xmlns:a16="http://schemas.microsoft.com/office/drawing/2014/main" id="{C9615DEC-AC9E-4BBB-B51D-138D1AC96AF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463623" y="3783856"/>
            <a:ext cx="2055159" cy="2167889"/>
          </a:xfrm>
          <a:prstGeom prst="rect">
            <a:avLst/>
          </a:prstGeom>
        </p:spPr>
      </p:pic>
      <p:pic>
        <p:nvPicPr>
          <p:cNvPr id="28" name="Picture 27" descr="A machine with wheels and a hose&#10;&#10;AI-generated content may be incorrect.">
            <a:extLst>
              <a:ext uri="{FF2B5EF4-FFF2-40B4-BE49-F238E27FC236}">
                <a16:creationId xmlns:a16="http://schemas.microsoft.com/office/drawing/2014/main" id="{46E244B8-CD2B-885C-FA3E-852E99F741C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380325" y="3696211"/>
            <a:ext cx="2308466" cy="2435090"/>
          </a:xfrm>
          <a:prstGeom prst="rect">
            <a:avLst/>
          </a:prstGeom>
        </p:spPr>
      </p:pic>
      <p:pic>
        <p:nvPicPr>
          <p:cNvPr id="4" name="Picture 3" descr="A black machine with wheels&#10;&#10;AI-generated content may be incorrect.">
            <a:extLst>
              <a:ext uri="{FF2B5EF4-FFF2-40B4-BE49-F238E27FC236}">
                <a16:creationId xmlns:a16="http://schemas.microsoft.com/office/drawing/2014/main" id="{FC36CEC7-FDA6-D06C-A6AA-8815DA8B5D3D}"/>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4916689" y="1261122"/>
            <a:ext cx="1736518" cy="1986877"/>
          </a:xfrm>
          <a:prstGeom prst="rect">
            <a:avLst/>
          </a:prstGeom>
        </p:spPr>
      </p:pic>
    </p:spTree>
    <p:extLst>
      <p:ext uri="{BB962C8B-B14F-4D97-AF65-F5344CB8AC3E}">
        <p14:creationId xmlns:p14="http://schemas.microsoft.com/office/powerpoint/2010/main" val="113648929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1150AB-5102-03BE-09AD-CE32654AB62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702E520A-6272-926D-EFBE-08FDA64E402E}"/>
              </a:ext>
            </a:extLst>
          </p:cNvPr>
          <p:cNvSpPr>
            <a:spLocks noGrp="1"/>
          </p:cNvSpPr>
          <p:nvPr>
            <p:ph type="ftr" sz="quarter" idx="19"/>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57E591F1-B4FF-920A-A7D3-EC8EA6896C63}"/>
              </a:ext>
            </a:extLst>
          </p:cNvPr>
          <p:cNvSpPr>
            <a:spLocks noGrp="1"/>
          </p:cNvSpPr>
          <p:nvPr>
            <p:ph type="sldNum" sz="quarter" idx="20"/>
          </p:nvPr>
        </p:nvSpPr>
        <p:spPr/>
        <p:txBody>
          <a:bodyPr/>
          <a:lstStyle/>
          <a:p>
            <a:fld id="{6C385236-B7BA-4938-9EA6-6DEC8CA653D7}" type="slidenum">
              <a:rPr lang="en-GB" noProof="0" smtClean="0"/>
              <a:pPr/>
              <a:t>15</a:t>
            </a:fld>
            <a:endParaRPr lang="en-GB" noProof="0" dirty="0"/>
          </a:p>
        </p:txBody>
      </p:sp>
      <p:sp>
        <p:nvSpPr>
          <p:cNvPr id="4" name="Text Placeholder 3">
            <a:extLst>
              <a:ext uri="{FF2B5EF4-FFF2-40B4-BE49-F238E27FC236}">
                <a16:creationId xmlns:a16="http://schemas.microsoft.com/office/drawing/2014/main" id="{35FF8538-120B-AF64-1ED6-E90D367C705B}"/>
              </a:ext>
            </a:extLst>
          </p:cNvPr>
          <p:cNvSpPr>
            <a:spLocks noGrp="1"/>
          </p:cNvSpPr>
          <p:nvPr>
            <p:ph type="body" sz="quarter" idx="14"/>
          </p:nvPr>
        </p:nvSpPr>
        <p:spPr/>
        <p:txBody>
          <a:bodyPr/>
          <a:lstStyle/>
          <a:p>
            <a:r>
              <a:t>Comparación de características</a:t>
            </a:r>
          </a:p>
        </p:txBody>
      </p:sp>
      <p:sp>
        <p:nvSpPr>
          <p:cNvPr id="5" name="Title 4">
            <a:extLst>
              <a:ext uri="{FF2B5EF4-FFF2-40B4-BE49-F238E27FC236}">
                <a16:creationId xmlns:a16="http://schemas.microsoft.com/office/drawing/2014/main" id="{272529AD-D16C-62AA-58C1-A504E881A302}"/>
              </a:ext>
            </a:extLst>
          </p:cNvPr>
          <p:cNvSpPr>
            <a:spLocks noGrp="1"/>
          </p:cNvSpPr>
          <p:nvPr>
            <p:ph type="title"/>
          </p:nvPr>
        </p:nvSpPr>
        <p:spPr/>
        <p:txBody>
          <a:bodyPr/>
          <a:lstStyle/>
          <a:p>
            <a:r>
              <a:t>Avanzado vs. Estándar</a:t>
            </a:r>
          </a:p>
        </p:txBody>
      </p:sp>
      <p:graphicFrame>
        <p:nvGraphicFramePr>
          <p:cNvPr id="10" name="Tabella 17">
            <a:extLst>
              <a:ext uri="{FF2B5EF4-FFF2-40B4-BE49-F238E27FC236}">
                <a16:creationId xmlns:a16="http://schemas.microsoft.com/office/drawing/2014/main" id="{EE68B996-B7DB-4B6F-3753-B48ED09A0A01}"/>
              </a:ext>
            </a:extLst>
          </p:cNvPr>
          <p:cNvGraphicFramePr>
            <a:graphicFrameLocks noGrp="1"/>
          </p:cNvGraphicFramePr>
          <p:nvPr>
            <p:extLst>
              <p:ext uri="{D42A27DB-BD31-4B8C-83A1-F6EECF244321}">
                <p14:modId xmlns:p14="http://schemas.microsoft.com/office/powerpoint/2010/main" val="2427557772"/>
              </p:ext>
            </p:extLst>
          </p:nvPr>
        </p:nvGraphicFramePr>
        <p:xfrm>
          <a:off x="481377" y="1162724"/>
          <a:ext cx="11232000" cy="4980124"/>
        </p:xfrm>
        <a:graphic>
          <a:graphicData uri="http://schemas.openxmlformats.org/drawingml/2006/table">
            <a:tbl>
              <a:tblPr firstRow="1" bandRow="1">
                <a:effectLst/>
                <a:tableStyleId>{2D5ABB26-0587-4C30-8999-92F81FD0307C}</a:tableStyleId>
              </a:tblPr>
              <a:tblGrid>
                <a:gridCol w="4032000">
                  <a:extLst>
                    <a:ext uri="{9D8B030D-6E8A-4147-A177-3AD203B41FA5}">
                      <a16:colId xmlns:a16="http://schemas.microsoft.com/office/drawing/2014/main" val="2264820808"/>
                    </a:ext>
                  </a:extLst>
                </a:gridCol>
                <a:gridCol w="3600000">
                  <a:extLst>
                    <a:ext uri="{9D8B030D-6E8A-4147-A177-3AD203B41FA5}">
                      <a16:colId xmlns:a16="http://schemas.microsoft.com/office/drawing/2014/main" val="1171133363"/>
                    </a:ext>
                  </a:extLst>
                </a:gridCol>
                <a:gridCol w="3600000">
                  <a:extLst>
                    <a:ext uri="{9D8B030D-6E8A-4147-A177-3AD203B41FA5}">
                      <a16:colId xmlns:a16="http://schemas.microsoft.com/office/drawing/2014/main" val="3798050745"/>
                    </a:ext>
                  </a:extLst>
                </a:gridCol>
              </a:tblGrid>
              <a:tr h="265452">
                <a:tc>
                  <a:txBody>
                    <a:bodyPr/>
                    <a:lstStyle/>
                    <a:p>
                      <a:pPr marL="0" marR="0" lvl="0" indent="0" algn="l" defTabSz="1023967" rtl="0" eaLnBrk="1" fontAlgn="auto" hangingPunct="1">
                        <a:lnSpc>
                          <a:spcPct val="100000"/>
                        </a:lnSpc>
                        <a:spcBef>
                          <a:spcPts val="0"/>
                        </a:spcBef>
                        <a:spcAft>
                          <a:spcPts val="0"/>
                        </a:spcAft>
                        <a:buFontTx/>
                        <a:buNone/>
                      </a:pPr>
                      <a:endParaRPr lang="en-GB"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rtl="0" eaLnBrk="1" fontAlgn="auto" hangingPunct="1">
                        <a:lnSpc>
                          <a:spcPct val="100000"/>
                        </a:lnSpc>
                        <a:spcBef>
                          <a:spcPts val="0"/>
                        </a:spcBef>
                        <a:spcAft>
                          <a:spcPts val="0"/>
                        </a:spcAft>
                        <a:buFontTx/>
                        <a:buNone/>
                      </a:pPr>
                      <a:r>
                        <a:rPr sz="1100" b="0" i="0" u="none">
                          <a:latin typeface="Roboto Bold"/>
                        </a:rPr>
                        <a:t>MH20-70 - Estándar</a:t>
                      </a:r>
                      <a:endParaRPr lang="en-GB"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rtl="0" eaLnBrk="1" fontAlgn="auto" hangingPunct="1">
                        <a:lnSpc>
                          <a:spcPct val="100000"/>
                        </a:lnSpc>
                        <a:spcBef>
                          <a:spcPts val="0"/>
                        </a:spcBef>
                        <a:spcAft>
                          <a:spcPts val="0"/>
                        </a:spcAft>
                        <a:buFontTx/>
                        <a:buNone/>
                      </a:pPr>
                      <a:r>
                        <a:rPr sz="1100" b="0" i="0" u="none">
                          <a:latin typeface="Roboto Bold"/>
                        </a:rPr>
                        <a:t>MH35-85 - Avanzado</a:t>
                      </a:r>
                      <a:endParaRPr lang="en-GB"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267997">
                <a:tc>
                  <a:txBody>
                    <a:bodyPr/>
                    <a:lstStyle/>
                    <a:p>
                      <a:r>
                        <a:rPr sz="1100" b="0"/>
                        <a:t>Caldera de alta eficiencia energética (nueva caldera)</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noProof="0" dirty="0">
                        <a:solidFill>
                          <a:srgbClr val="28313F"/>
                        </a:solidFill>
                        <a:effectLst/>
                        <a:latin typeface="Roboto Light" panose="02000000000000000000" pitchFamily="2" charset="0"/>
                      </a:endParaRP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sz="1100" b="1" i="0" u="none">
                          <a:solidFill>
                            <a:srgbClr val="38AFD9"/>
                          </a:solidFill>
                          <a:latin typeface="Segoe MDL2 Assets"/>
                        </a:rPr>
                        <a:t></a:t>
                      </a:r>
                      <a:endParaRPr lang="en-GB" sz="1100" b="0" i="0" u="none" strike="noStrike" noProof="0" dirty="0">
                        <a:solidFill>
                          <a:srgbClr val="28313F"/>
                        </a:solidFill>
                        <a:effectLst/>
                        <a:latin typeface="Segoe MDL2 Assets"/>
                      </a:endParaRPr>
                    </a:p>
                  </a:txBody>
                  <a:tcPr marL="0" marR="0"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59864924"/>
                  </a:ext>
                </a:extLst>
              </a:tr>
              <a:tr h="267997">
                <a:tc>
                  <a:txBody>
                    <a:bodyPr/>
                    <a:lstStyle/>
                    <a:p>
                      <a:r>
                        <a:rPr sz="1100" b="0"/>
                        <a:t>Caldera EcoPower™</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Roboto Light" panose="02000000000000000000" pitchFamily="2" charset="0"/>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97365734"/>
                  </a:ext>
                </a:extLst>
              </a:tr>
              <a:tr h="267997">
                <a:tc>
                  <a: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100" b="0"/>
                        <a:t>Compatible con biocombustibles </a:t>
                      </a:r>
                      <a:r>
                        <a:rPr sz="1100" b="0" u="none"/>
                        <a:t>(B7, B10, B20, B30 y XTL/HVO)</a:t>
                      </a:r>
                      <a:endParaRPr lang="en-GB" sz="1100" b="0" i="0" u="none" strike="noStrike" noProof="0" dirty="0">
                        <a:solidFill>
                          <a:srgbClr val="000000"/>
                        </a:solidFill>
                        <a:effectLst/>
                        <a:latin typeface="Calibri" panose="020F0502020204030204" pitchFamily="34" charset="0"/>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1100" b="1" i="0" u="none">
                          <a:solidFill>
                            <a:srgbClr val="38AFD9"/>
                          </a:solidFill>
                          <a:latin typeface="Segoe MDL2 Assets"/>
                        </a:rPr>
                        <a:t></a:t>
                      </a:r>
                      <a:endParaRPr lang="en-GB"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267997">
                <a:tc>
                  <a:txBody>
                    <a:bodyPr/>
                    <a:lstStyle/>
                    <a:p>
                      <a:r>
                        <a:rPr sz="1100" b="0"/>
                        <a:t>Sistema de detergente integrado</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latinLnBrk="0" hangingPunct="1">
                        <a:lnSpc>
                          <a:spcPct val="100000"/>
                        </a:lnSpc>
                        <a:spcBef>
                          <a:spcPts val="0"/>
                        </a:spcBef>
                        <a:spcAft>
                          <a:spcPts val="0"/>
                        </a:spcAft>
                        <a:buClrTx/>
                        <a:buSzTx/>
                        <a:buFontTx/>
                        <a:buNone/>
                        <a:tabLst/>
                        <a:defRPr/>
                      </a:pP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Roboto Light" panose="02000000000000000000" pitchFamily="2" charset="0"/>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952840127"/>
                  </a:ext>
                </a:extLst>
              </a:tr>
              <a:tr h="267997">
                <a:tc>
                  <a:txBody>
                    <a:bodyPr/>
                    <a:lstStyle/>
                    <a:p>
                      <a:r>
                        <a:rPr sz="1100" b="0"/>
                        <a:t>Lanza universal</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endParaRPr lang="en-GB" sz="11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641861578"/>
                  </a:ext>
                </a:extLst>
              </a:tr>
              <a:tr h="267997">
                <a:tc>
                  <a:txBody>
                    <a:bodyPr/>
                    <a:lstStyle/>
                    <a:p>
                      <a:r>
                        <a:rPr sz="1100" b="0"/>
                        <a:t>Lanza de presión regulable (Tornado)</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latinLnBrk="0" hangingPunct="1">
                        <a:lnSpc>
                          <a:spcPct val="100000"/>
                        </a:lnSpc>
                        <a:spcBef>
                          <a:spcPts val="0"/>
                        </a:spcBef>
                        <a:spcAft>
                          <a:spcPts val="0"/>
                        </a:spcAft>
                        <a:buClrTx/>
                        <a:buSzTx/>
                        <a:buFontTx/>
                        <a:buNone/>
                        <a:tabLst/>
                        <a:defRPr/>
                      </a:pPr>
                      <a:r>
                        <a:rPr sz="1100" b="1" i="0" u="none">
                          <a:solidFill>
                            <a:srgbClr val="38AFD9"/>
                          </a:solidFill>
                          <a:latin typeface="Segoe MDL2 Assets"/>
                        </a:rPr>
                        <a:t></a:t>
                      </a:r>
                      <a:endParaRPr lang="en-GB"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976610218"/>
                  </a:ext>
                </a:extLst>
              </a:tr>
              <a:tr h="267997">
                <a:tc>
                  <a:txBody>
                    <a:bodyPr/>
                    <a:lstStyle/>
                    <a:p>
                      <a:r>
                        <a:rPr sz="1100" b="0"/>
                        <a:t>Interfaz de usuario mejorada</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latinLnBrk="0" hangingPunct="1">
                        <a:lnSpc>
                          <a:spcPct val="100000"/>
                        </a:lnSpc>
                        <a:spcBef>
                          <a:spcPts val="0"/>
                        </a:spcBef>
                        <a:spcAft>
                          <a:spcPts val="0"/>
                        </a:spcAft>
                        <a:buClrTx/>
                        <a:buSzTx/>
                        <a:buFontTx/>
                        <a:buNone/>
                        <a:tabLst/>
                        <a:defRPr/>
                      </a:pPr>
                      <a:r>
                        <a:rPr sz="1100" b="1" i="0" u="none">
                          <a:solidFill>
                            <a:srgbClr val="38AFD9"/>
                          </a:solidFill>
                          <a:latin typeface="Segoe MDL2 Assets"/>
                        </a:rPr>
                        <a:t></a:t>
                      </a:r>
                      <a:endParaRPr lang="en-GB"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267997">
                <a:tc>
                  <a:txBody>
                    <a:bodyPr/>
                    <a:lstStyle/>
                    <a:p>
                      <a:r>
                        <a:rPr sz="1100" b="0"/>
                        <a:t>Bloquee la máquina a configuraciones específicas</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Roboto Light" panose="02000000000000000000" pitchFamily="2" charset="0"/>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888127763"/>
                  </a:ext>
                </a:extLst>
              </a:tr>
              <a:tr h="267997">
                <a:tc>
                  <a:txBody>
                    <a:bodyPr/>
                    <a:lstStyle/>
                    <a:p>
                      <a:r>
                        <a:rPr sz="1100" b="0"/>
                        <a:t>Indicador de servicio y notificaciones emergentes</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90199"/>
                  </a:ext>
                </a:extLst>
              </a:tr>
              <a:tr h="267997">
                <a:tc>
                  <a:txBody>
                    <a:bodyPr/>
                    <a:lstStyle/>
                    <a:p>
                      <a:r>
                        <a:rPr sz="1100" b="0"/>
                        <a:t>Diagnóstico de máquinas e identificación de fallos</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289819214"/>
                  </a:ext>
                </a:extLst>
              </a:tr>
              <a:tr h="267997">
                <a:tc>
                  <a:txBody>
                    <a:bodyPr/>
                    <a:lstStyle/>
                    <a:p>
                      <a:r>
                        <a:rPr sz="1100" b="0"/>
                        <a:t>Sensor de combustible</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284191312"/>
                  </a:ext>
                </a:extLst>
              </a:tr>
              <a:tr h="267997">
                <a:tc>
                  <a:txBody>
                    <a:bodyPr/>
                    <a:lstStyle/>
                    <a:p>
                      <a:r>
                        <a:rPr sz="1100" b="0"/>
                        <a:t>Sensor de llama</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69527912"/>
                  </a:ext>
                </a:extLst>
              </a:tr>
              <a:tr h="267997">
                <a:tc>
                  <a:txBody>
                    <a:bodyPr/>
                    <a:lstStyle/>
                    <a:p>
                      <a:r>
                        <a:rPr sz="1100" b="0"/>
                        <a:t>Sistema antical</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252677417"/>
                  </a:ext>
                </a:extLst>
              </a:tr>
              <a:tr h="267997">
                <a:tc>
                  <a:txBody>
                    <a:bodyPr/>
                    <a:lstStyle/>
                    <a:p>
                      <a:r>
                        <a:rPr sz="1100" b="0"/>
                        <a:t>Función de vapor</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24958639"/>
                  </a:ext>
                </a:extLst>
              </a:tr>
              <a:tr h="267997">
                <a:tc>
                  <a:txBody>
                    <a:bodyPr/>
                    <a:lstStyle/>
                    <a:p>
                      <a:r>
                        <a:rPr sz="1100" b="0"/>
                        <a:t>*Carrete de manguera</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n-GB"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267997">
                <a:tc>
                  <a:txBody>
                    <a:bodyPr/>
                    <a:lstStyle/>
                    <a:p>
                      <a:r>
                        <a:rPr sz="1100" b="0"/>
                        <a:t>Pistones de cerámica</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71643813"/>
                  </a:ext>
                </a:extLst>
              </a:tr>
              <a:tr h="267997">
                <a:tc>
                  <a:txBody>
                    <a:bodyPr/>
                    <a:lstStyle/>
                    <a:p>
                      <a:r>
                        <a:rPr sz="1100" b="0"/>
                        <a:t>Activado por flujo</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sz="1100" b="1" i="0" u="none">
                          <a:solidFill>
                            <a:srgbClr val="38AFD9"/>
                          </a:solidFill>
                          <a:latin typeface="Segoe MDL2 Assets"/>
                        </a:rPr>
                        <a:t></a:t>
                      </a:r>
                      <a:endParaRPr lang="en-GB" sz="1100" b="0" i="0" u="none" strike="noStrike" kern="1200" cap="none" spc="0" normalizeH="0" baseline="0" noProof="0" dirty="0">
                        <a:solidFill>
                          <a:schemeClr val="tx1"/>
                        </a:solidFill>
                        <a:effectLst/>
                        <a:latin typeface="Segoe MDL2 Assets"/>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bl>
          </a:graphicData>
        </a:graphic>
      </p:graphicFrame>
      <p:sp>
        <p:nvSpPr>
          <p:cNvPr id="8" name="Pladsholder til indhold 3">
            <a:extLst>
              <a:ext uri="{FF2B5EF4-FFF2-40B4-BE49-F238E27FC236}">
                <a16:creationId xmlns:a16="http://schemas.microsoft.com/office/drawing/2014/main" id="{6A4948CF-09F7-3A5D-62A5-99926F34D185}"/>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sz="900"/>
              <a:t>*Solo en modelos seleccionados</a:t>
            </a:r>
          </a:p>
        </p:txBody>
      </p:sp>
    </p:spTree>
    <p:extLst>
      <p:ext uri="{BB962C8B-B14F-4D97-AF65-F5344CB8AC3E}">
        <p14:creationId xmlns:p14="http://schemas.microsoft.com/office/powerpoint/2010/main" val="34154435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BF9AC11-C7C1-5137-9CA4-2B996F618B23}"/>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6" name="Slide Number Placeholder 5">
            <a:extLst>
              <a:ext uri="{FF2B5EF4-FFF2-40B4-BE49-F238E27FC236}">
                <a16:creationId xmlns:a16="http://schemas.microsoft.com/office/drawing/2014/main" id="{66B8F385-614A-58B4-7751-8B0EE515A538}"/>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16</a:t>
            </a:fld>
            <a:endParaRPr lang="en-GB" noProof="0" dirty="0"/>
          </a:p>
        </p:txBody>
      </p:sp>
      <p:sp>
        <p:nvSpPr>
          <p:cNvPr id="3" name="Text Placeholder 2">
            <a:extLst>
              <a:ext uri="{FF2B5EF4-FFF2-40B4-BE49-F238E27FC236}">
                <a16:creationId xmlns:a16="http://schemas.microsoft.com/office/drawing/2014/main" id="{8B026C1B-7CAD-A9FE-B724-605DECABAEB8}"/>
              </a:ext>
            </a:extLst>
          </p:cNvPr>
          <p:cNvSpPr>
            <a:spLocks noGrp="1"/>
          </p:cNvSpPr>
          <p:nvPr>
            <p:ph type="body" sz="quarter" idx="14"/>
          </p:nvPr>
        </p:nvSpPr>
        <p:spPr>
          <a:xfrm>
            <a:off x="475521" y="873877"/>
            <a:ext cx="11235102" cy="376456"/>
          </a:xfrm>
        </p:spPr>
        <p:txBody>
          <a:bodyPr vert="horz" lIns="0" tIns="0" rIns="0" bIns="0" rtlCol="0" anchor="t">
            <a:normAutofit/>
          </a:bodyPr>
          <a:lstStyle/>
          <a:p>
            <a:r>
              <a:t>La gama Avanzada</a:t>
            </a:r>
          </a:p>
        </p:txBody>
      </p:sp>
      <p:sp>
        <p:nvSpPr>
          <p:cNvPr id="4" name="Title 3">
            <a:extLst>
              <a:ext uri="{FF2B5EF4-FFF2-40B4-BE49-F238E27FC236}">
                <a16:creationId xmlns:a16="http://schemas.microsoft.com/office/drawing/2014/main" id="{0E3D1433-8F76-AAB7-877C-8F6B7FD81DB0}"/>
              </a:ext>
            </a:extLst>
          </p:cNvPr>
          <p:cNvSpPr>
            <a:spLocks noGrp="1"/>
          </p:cNvSpPr>
          <p:nvPr>
            <p:ph type="title"/>
          </p:nvPr>
        </p:nvSpPr>
        <p:spPr>
          <a:xfrm>
            <a:off x="479425" y="494490"/>
            <a:ext cx="11233150" cy="388013"/>
          </a:xfrm>
        </p:spPr>
        <p:txBody>
          <a:bodyPr anchor="t">
            <a:noAutofit/>
          </a:bodyPr>
          <a:lstStyle/>
          <a:p>
            <a:r>
              <a:t>MH35-85</a:t>
            </a:r>
          </a:p>
        </p:txBody>
      </p:sp>
      <p:pic>
        <p:nvPicPr>
          <p:cNvPr id="9" name="Picture 8" descr="A machine with wheels on it&#10;&#10;AI-generated content may be incorrect.">
            <a:extLst>
              <a:ext uri="{FF2B5EF4-FFF2-40B4-BE49-F238E27FC236}">
                <a16:creationId xmlns:a16="http://schemas.microsoft.com/office/drawing/2014/main" id="{10F20B96-5E4E-80F4-FFF7-4D38B589DBE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47783" y="1376776"/>
            <a:ext cx="4638384" cy="4903374"/>
          </a:xfrm>
          <a:prstGeom prst="rect">
            <a:avLst/>
          </a:prstGeom>
        </p:spPr>
      </p:pic>
      <p:pic>
        <p:nvPicPr>
          <p:cNvPr id="11" name="Picture 10" descr="A close-up of a device&#10;&#10;AI-generated content may be incorrect.">
            <a:extLst>
              <a:ext uri="{FF2B5EF4-FFF2-40B4-BE49-F238E27FC236}">
                <a16:creationId xmlns:a16="http://schemas.microsoft.com/office/drawing/2014/main" id="{2B509712-F195-1FC7-2D3F-B69BA3F2A4DD}"/>
              </a:ext>
            </a:extLst>
          </p:cNvPr>
          <p:cNvPicPr>
            <a:picLocks noChangeAspect="1"/>
          </p:cNvPicPr>
          <p:nvPr/>
        </p:nvPicPr>
        <p:blipFill>
          <a:blip r:embed="rId3"/>
          <a:stretch>
            <a:fillRect/>
          </a:stretch>
        </p:blipFill>
        <p:spPr>
          <a:xfrm>
            <a:off x="6388553" y="1925183"/>
            <a:ext cx="4903108" cy="3007633"/>
          </a:xfrm>
          <a:prstGeom prst="rect">
            <a:avLst/>
          </a:prstGeom>
        </p:spPr>
      </p:pic>
    </p:spTree>
    <p:extLst>
      <p:ext uri="{BB962C8B-B14F-4D97-AF65-F5344CB8AC3E}">
        <p14:creationId xmlns:p14="http://schemas.microsoft.com/office/powerpoint/2010/main" val="274624740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chine with wheels on it&#10;&#10;AI-generated content may be incorrect.">
            <a:extLst>
              <a:ext uri="{FF2B5EF4-FFF2-40B4-BE49-F238E27FC236}">
                <a16:creationId xmlns:a16="http://schemas.microsoft.com/office/drawing/2014/main" id="{3E6CB82D-94CD-FFA5-E5A3-8BC70AE9B773}"/>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a:ext>
            </a:extLst>
          </a:blip>
          <a:stretch>
            <a:fillRect/>
          </a:stretch>
        </p:blipFill>
        <p:spPr>
          <a:xfrm>
            <a:off x="3305926" y="895992"/>
            <a:ext cx="5572741" cy="5801446"/>
          </a:xfrm>
          <a:prstGeom prst="rect">
            <a:avLst/>
          </a:prstGeom>
        </p:spPr>
      </p:pic>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p:txBody>
          <a:bodyPr/>
          <a:lstStyle/>
          <a:p>
            <a:r>
              <a:t>Ventajas y beneficios de la gama MH</a:t>
            </a:r>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r>
              <a:t>MH35-85</a:t>
            </a:r>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fld id="{6C385236-B7BA-4938-9EA6-6DEC8CA653D7}" type="slidenum">
              <a:rPr lang="en-GB" noProof="0" smtClean="0"/>
              <a:pPr/>
              <a:t>17</a:t>
            </a:fld>
            <a:endParaRPr lang="en-GB" noProof="0" dirty="0"/>
          </a:p>
        </p:txBody>
      </p:sp>
      <p:sp>
        <p:nvSpPr>
          <p:cNvPr id="12" name="Rectangle 11">
            <a:extLst>
              <a:ext uri="{FF2B5EF4-FFF2-40B4-BE49-F238E27FC236}">
                <a16:creationId xmlns:a16="http://schemas.microsoft.com/office/drawing/2014/main" id="{C93DB031-D64E-8EAD-261B-B6C3861CEEC6}"/>
              </a:ext>
            </a:extLst>
          </p:cNvPr>
          <p:cNvSpPr/>
          <p:nvPr/>
        </p:nvSpPr>
        <p:spPr>
          <a:xfrm>
            <a:off x="479421" y="1309261"/>
            <a:ext cx="4420569" cy="483081"/>
          </a:xfrm>
          <a:prstGeom prst="rect">
            <a:avLst/>
          </a:prstGeom>
        </p:spPr>
        <p:txBody>
          <a:bodyPr wrap="square" lIns="0" tIns="0" rIns="0" bIns="91440">
            <a:spAutoFit/>
          </a:bodyPr>
          <a:lstStyle/>
          <a:p>
            <a:pPr>
              <a:lnSpc>
                <a:spcPct val="120000"/>
              </a:lnSpc>
            </a:pPr>
            <a:r>
              <a:rPr sz="1100" dirty="0">
                <a:latin typeface="+mj-lt"/>
              </a:rPr>
              <a:t>Caja de </a:t>
            </a:r>
            <a:r>
              <a:rPr sz="1100" dirty="0" err="1">
                <a:latin typeface="+mj-lt"/>
              </a:rPr>
              <a:t>almacenamiento</a:t>
            </a:r>
            <a:endParaRPr sz="1100" dirty="0">
              <a:latin typeface="+mj-lt"/>
            </a:endParaRPr>
          </a:p>
          <a:p>
            <a:pPr>
              <a:lnSpc>
                <a:spcPct val="120000"/>
              </a:lnSpc>
            </a:pPr>
            <a:r>
              <a:rPr sz="1100" dirty="0" err="1"/>
              <a:t>Guarde</a:t>
            </a:r>
            <a:r>
              <a:rPr sz="1100" dirty="0"/>
              <a:t> las </a:t>
            </a:r>
            <a:r>
              <a:rPr sz="1100" dirty="0" err="1"/>
              <a:t>herramientas</a:t>
            </a:r>
            <a:r>
              <a:rPr sz="1100" dirty="0"/>
              <a:t> o </a:t>
            </a:r>
            <a:r>
              <a:rPr sz="1100" dirty="0" err="1"/>
              <a:t>los</a:t>
            </a:r>
            <a:r>
              <a:rPr sz="1100" dirty="0"/>
              <a:t> </a:t>
            </a:r>
            <a:r>
              <a:rPr sz="1100" dirty="0" err="1"/>
              <a:t>accesorios</a:t>
            </a:r>
            <a:r>
              <a:rPr sz="1100" dirty="0"/>
              <a:t> </a:t>
            </a:r>
            <a:r>
              <a:rPr sz="1100" dirty="0" err="1"/>
              <a:t>en</a:t>
            </a:r>
            <a:r>
              <a:rPr sz="1100" dirty="0"/>
              <a:t> la </a:t>
            </a:r>
            <a:r>
              <a:rPr sz="1100" dirty="0" err="1"/>
              <a:t>guantera</a:t>
            </a:r>
            <a:r>
              <a:rPr sz="1100" dirty="0"/>
              <a:t> o </a:t>
            </a:r>
            <a:r>
              <a:rPr sz="1100" dirty="0" err="1"/>
              <a:t>sobre</a:t>
            </a:r>
            <a:r>
              <a:rPr sz="1100" dirty="0"/>
              <a:t> las superficies </a:t>
            </a:r>
            <a:r>
              <a:rPr sz="1100" dirty="0" err="1"/>
              <a:t>texturizadas</a:t>
            </a:r>
            <a:r>
              <a:rPr sz="1100" dirty="0"/>
              <a:t>.</a:t>
            </a:r>
          </a:p>
        </p:txBody>
      </p:sp>
      <p:sp>
        <p:nvSpPr>
          <p:cNvPr id="25" name="Rectangle 24">
            <a:extLst>
              <a:ext uri="{FF2B5EF4-FFF2-40B4-BE49-F238E27FC236}">
                <a16:creationId xmlns:a16="http://schemas.microsoft.com/office/drawing/2014/main" id="{08B97BA7-51E7-2099-AF08-192D4669682B}"/>
              </a:ext>
            </a:extLst>
          </p:cNvPr>
          <p:cNvSpPr/>
          <p:nvPr/>
        </p:nvSpPr>
        <p:spPr>
          <a:xfrm>
            <a:off x="479422" y="2197983"/>
            <a:ext cx="3003556" cy="483081"/>
          </a:xfrm>
          <a:prstGeom prst="rect">
            <a:avLst/>
          </a:prstGeom>
        </p:spPr>
        <p:txBody>
          <a:bodyPr wrap="square" lIns="0" tIns="0" rIns="0" bIns="91440">
            <a:spAutoFit/>
          </a:bodyPr>
          <a:lstStyle/>
          <a:p>
            <a:pPr>
              <a:lnSpc>
                <a:spcPct val="120000"/>
              </a:lnSpc>
            </a:pPr>
            <a:r>
              <a:rPr sz="1100">
                <a:latin typeface="+mj-lt"/>
              </a:rPr>
              <a:t>Manguera reforzada </a:t>
            </a:r>
            <a:r>
              <a:rPr sz="1100"/>
              <a:t>con acero: duradera y flexible</a:t>
            </a:r>
          </a:p>
        </p:txBody>
      </p:sp>
      <p:sp>
        <p:nvSpPr>
          <p:cNvPr id="36" name="Rectangle 35">
            <a:extLst>
              <a:ext uri="{FF2B5EF4-FFF2-40B4-BE49-F238E27FC236}">
                <a16:creationId xmlns:a16="http://schemas.microsoft.com/office/drawing/2014/main" id="{D998A648-00F5-CFE4-F05D-ED8E8755E54B}"/>
              </a:ext>
            </a:extLst>
          </p:cNvPr>
          <p:cNvSpPr/>
          <p:nvPr/>
        </p:nvSpPr>
        <p:spPr>
          <a:xfrm>
            <a:off x="469503" y="2972827"/>
            <a:ext cx="2625917" cy="686213"/>
          </a:xfrm>
          <a:prstGeom prst="rect">
            <a:avLst/>
          </a:prstGeom>
        </p:spPr>
        <p:txBody>
          <a:bodyPr wrap="square" lIns="0" tIns="0" rIns="0" bIns="91440">
            <a:spAutoFit/>
          </a:bodyPr>
          <a:lstStyle/>
          <a:p>
            <a:pPr>
              <a:lnSpc>
                <a:spcPct val="120000"/>
              </a:lnSpc>
            </a:pPr>
            <a:r>
              <a:rPr sz="1100" dirty="0">
                <a:latin typeface="+mj-lt"/>
              </a:rPr>
              <a:t>Sensor de llama </a:t>
            </a:r>
            <a:r>
              <a:rPr sz="1100" dirty="0" err="1">
                <a:latin typeface="+mj-lt"/>
              </a:rPr>
              <a:t>mejorado</a:t>
            </a:r>
            <a:endParaRPr sz="1100" dirty="0">
              <a:latin typeface="+mj-lt"/>
            </a:endParaRPr>
          </a:p>
          <a:p>
            <a:pPr>
              <a:lnSpc>
                <a:spcPct val="120000"/>
              </a:lnSpc>
            </a:pPr>
            <a:r>
              <a:rPr sz="1100" dirty="0" err="1"/>
              <a:t>Detecta</a:t>
            </a:r>
            <a:r>
              <a:rPr sz="1100" dirty="0"/>
              <a:t> la llama y </a:t>
            </a:r>
            <a:r>
              <a:rPr sz="1100" dirty="0" err="1"/>
              <a:t>evita</a:t>
            </a:r>
            <a:r>
              <a:rPr sz="1100" dirty="0"/>
              <a:t> </a:t>
            </a:r>
            <a:r>
              <a:rPr sz="1100" dirty="0" err="1"/>
              <a:t>el</a:t>
            </a:r>
            <a:r>
              <a:rPr sz="1100" dirty="0"/>
              <a:t> </a:t>
            </a:r>
            <a:r>
              <a:rPr sz="1100" dirty="0" err="1"/>
              <a:t>llenado</a:t>
            </a:r>
            <a:r>
              <a:rPr sz="1100" dirty="0"/>
              <a:t> no </a:t>
            </a:r>
            <a:r>
              <a:rPr sz="1100" dirty="0" err="1"/>
              <a:t>deseado</a:t>
            </a:r>
            <a:r>
              <a:rPr sz="1100" dirty="0"/>
              <a:t> de la caldera </a:t>
            </a:r>
            <a:r>
              <a:rPr sz="1100" dirty="0" err="1"/>
              <a:t>en</a:t>
            </a:r>
            <a:r>
              <a:rPr sz="1100" dirty="0"/>
              <a:t> modo </a:t>
            </a:r>
            <a:r>
              <a:rPr sz="1100" dirty="0" err="1"/>
              <a:t>estacionario</a:t>
            </a:r>
            <a:r>
              <a:rPr sz="1100" dirty="0"/>
              <a:t>.</a:t>
            </a:r>
          </a:p>
        </p:txBody>
      </p:sp>
      <p:sp>
        <p:nvSpPr>
          <p:cNvPr id="38" name="Rectangle 37">
            <a:extLst>
              <a:ext uri="{FF2B5EF4-FFF2-40B4-BE49-F238E27FC236}">
                <a16:creationId xmlns:a16="http://schemas.microsoft.com/office/drawing/2014/main" id="{80764611-337F-9EF3-4A28-7506ED623C20}"/>
              </a:ext>
            </a:extLst>
          </p:cNvPr>
          <p:cNvSpPr/>
          <p:nvPr/>
        </p:nvSpPr>
        <p:spPr>
          <a:xfrm>
            <a:off x="422116" y="5237842"/>
            <a:ext cx="3232499" cy="889346"/>
          </a:xfrm>
          <a:prstGeom prst="rect">
            <a:avLst/>
          </a:prstGeom>
        </p:spPr>
        <p:txBody>
          <a:bodyPr wrap="square" lIns="0" tIns="0" rIns="0" bIns="91440">
            <a:spAutoFit/>
          </a:bodyPr>
          <a:lstStyle/>
          <a:p>
            <a:pPr>
              <a:lnSpc>
                <a:spcPct val="120000"/>
              </a:lnSpc>
            </a:pPr>
            <a:r>
              <a:rPr sz="1100" dirty="0">
                <a:latin typeface="+mj-lt"/>
              </a:rPr>
              <a:t>Lanza Tornado</a:t>
            </a:r>
          </a:p>
          <a:p>
            <a:pPr>
              <a:lnSpc>
                <a:spcPct val="120000"/>
              </a:lnSpc>
            </a:pPr>
            <a:r>
              <a:rPr sz="1100" dirty="0"/>
              <a:t>Lanza doble con </a:t>
            </a:r>
            <a:r>
              <a:rPr sz="1100" dirty="0" err="1"/>
              <a:t>ajuste</a:t>
            </a:r>
            <a:r>
              <a:rPr sz="1100" dirty="0"/>
              <a:t> de </a:t>
            </a:r>
            <a:r>
              <a:rPr sz="1100" dirty="0" err="1"/>
              <a:t>presión</a:t>
            </a:r>
            <a:r>
              <a:rPr sz="1100" dirty="0"/>
              <a:t>. </a:t>
            </a:r>
            <a:r>
              <a:rPr sz="1100" dirty="0" err="1"/>
              <a:t>Realice</a:t>
            </a:r>
            <a:r>
              <a:rPr sz="1100" dirty="0"/>
              <a:t> </a:t>
            </a:r>
            <a:r>
              <a:rPr sz="1100" dirty="0" err="1"/>
              <a:t>el</a:t>
            </a:r>
            <a:r>
              <a:rPr sz="1100" dirty="0"/>
              <a:t> </a:t>
            </a:r>
            <a:r>
              <a:rPr sz="1100" dirty="0" err="1"/>
              <a:t>trabajo</a:t>
            </a:r>
            <a:r>
              <a:rPr sz="1100" dirty="0"/>
              <a:t> con </a:t>
            </a:r>
            <a:r>
              <a:rPr sz="1100" dirty="0" err="1"/>
              <a:t>una</a:t>
            </a:r>
            <a:r>
              <a:rPr sz="1100" dirty="0"/>
              <a:t> </a:t>
            </a:r>
            <a:r>
              <a:rPr sz="1100" dirty="0" err="1"/>
              <a:t>boquilla</a:t>
            </a:r>
            <a:r>
              <a:rPr sz="1100" dirty="0"/>
              <a:t> de </a:t>
            </a:r>
            <a:r>
              <a:rPr sz="1100" dirty="0" err="1"/>
              <a:t>alta</a:t>
            </a:r>
            <a:r>
              <a:rPr sz="1100" dirty="0"/>
              <a:t> </a:t>
            </a:r>
            <a:r>
              <a:rPr sz="1100" dirty="0" err="1"/>
              <a:t>eficiencia</a:t>
            </a:r>
            <a:r>
              <a:rPr sz="1100" dirty="0"/>
              <a:t> o </a:t>
            </a:r>
            <a:r>
              <a:rPr sz="1100" dirty="0" err="1"/>
              <a:t>reduzca</a:t>
            </a:r>
            <a:r>
              <a:rPr sz="1100" dirty="0"/>
              <a:t> la </a:t>
            </a:r>
            <a:r>
              <a:rPr sz="1100" dirty="0" err="1"/>
              <a:t>presión</a:t>
            </a:r>
            <a:r>
              <a:rPr sz="1100" dirty="0"/>
              <a:t> para </a:t>
            </a:r>
            <a:r>
              <a:rPr sz="1100" dirty="0" err="1"/>
              <a:t>enjuagar</a:t>
            </a:r>
            <a:r>
              <a:rPr sz="1100" dirty="0"/>
              <a:t> o </a:t>
            </a:r>
            <a:r>
              <a:rPr sz="1100" dirty="0" err="1"/>
              <a:t>evitar</a:t>
            </a:r>
            <a:r>
              <a:rPr sz="1100" dirty="0"/>
              <a:t> </a:t>
            </a:r>
            <a:r>
              <a:rPr sz="1100" dirty="0" err="1"/>
              <a:t>salpicaduras</a:t>
            </a:r>
            <a:r>
              <a:rPr sz="1100" dirty="0"/>
              <a:t>.</a:t>
            </a:r>
          </a:p>
        </p:txBody>
      </p:sp>
      <p:cxnSp>
        <p:nvCxnSpPr>
          <p:cNvPr id="46" name="Straight Arrow Connector 38">
            <a:extLst>
              <a:ext uri="{FF2B5EF4-FFF2-40B4-BE49-F238E27FC236}">
                <a16:creationId xmlns:a16="http://schemas.microsoft.com/office/drawing/2014/main" id="{FEFA5BFC-0DB4-D39C-001B-3E056E9047F6}"/>
              </a:ext>
            </a:extLst>
          </p:cNvPr>
          <p:cNvCxnSpPr>
            <a:cxnSpLocks/>
          </p:cNvCxnSpPr>
          <p:nvPr/>
        </p:nvCxnSpPr>
        <p:spPr>
          <a:xfrm>
            <a:off x="479875" y="1917087"/>
            <a:ext cx="4663104" cy="89675"/>
          </a:xfrm>
          <a:prstGeom prst="bentConnector3">
            <a:avLst>
              <a:gd name="adj1" fmla="val 9989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C6567FA-7D24-5AEF-86EE-7973AA9045AD}"/>
              </a:ext>
            </a:extLst>
          </p:cNvPr>
          <p:cNvSpPr/>
          <p:nvPr/>
        </p:nvSpPr>
        <p:spPr>
          <a:xfrm>
            <a:off x="8209555" y="5237842"/>
            <a:ext cx="3573964" cy="483081"/>
          </a:xfrm>
          <a:prstGeom prst="rect">
            <a:avLst/>
          </a:prstGeom>
        </p:spPr>
        <p:txBody>
          <a:bodyPr wrap="square" lIns="0" tIns="0" rIns="0" bIns="91440">
            <a:spAutoFit/>
          </a:bodyPr>
          <a:lstStyle/>
          <a:p>
            <a:pPr algn="r">
              <a:lnSpc>
                <a:spcPct val="120000"/>
              </a:lnSpc>
            </a:pPr>
            <a:r>
              <a:rPr sz="1100" dirty="0" err="1">
                <a:latin typeface="+mj-lt"/>
              </a:rPr>
              <a:t>Ranuras</a:t>
            </a:r>
            <a:r>
              <a:rPr sz="1100" dirty="0">
                <a:latin typeface="+mj-lt"/>
              </a:rPr>
              <a:t> para </a:t>
            </a:r>
            <a:r>
              <a:rPr sz="1100" dirty="0" err="1"/>
              <a:t>montacargas</a:t>
            </a:r>
            <a:r>
              <a:rPr sz="1100" dirty="0"/>
              <a:t>  
Levante o </a:t>
            </a:r>
            <a:r>
              <a:rPr sz="1100" dirty="0" err="1"/>
              <a:t>traslade</a:t>
            </a:r>
            <a:r>
              <a:rPr sz="1100" dirty="0"/>
              <a:t> la </a:t>
            </a:r>
            <a:r>
              <a:rPr sz="1100" dirty="0" err="1"/>
              <a:t>máquina</a:t>
            </a:r>
            <a:r>
              <a:rPr sz="1100" dirty="0"/>
              <a:t> de forma </a:t>
            </a:r>
            <a:r>
              <a:rPr sz="1100" dirty="0" err="1"/>
              <a:t>estable</a:t>
            </a:r>
            <a:r>
              <a:rPr sz="1100" dirty="0"/>
              <a:t> con un </a:t>
            </a:r>
            <a:r>
              <a:rPr sz="1100" dirty="0" err="1"/>
              <a:t>montacargas</a:t>
            </a:r>
            <a:endParaRPr sz="1100" dirty="0"/>
          </a:p>
        </p:txBody>
      </p:sp>
      <p:sp>
        <p:nvSpPr>
          <p:cNvPr id="69" name="Rectangle 68">
            <a:extLst>
              <a:ext uri="{FF2B5EF4-FFF2-40B4-BE49-F238E27FC236}">
                <a16:creationId xmlns:a16="http://schemas.microsoft.com/office/drawing/2014/main" id="{FD4B4397-88CC-B2C5-A45F-4DC1D17B5F38}"/>
              </a:ext>
            </a:extLst>
          </p:cNvPr>
          <p:cNvSpPr/>
          <p:nvPr/>
        </p:nvSpPr>
        <p:spPr>
          <a:xfrm>
            <a:off x="8772807" y="1446682"/>
            <a:ext cx="2937815" cy="686213"/>
          </a:xfrm>
          <a:prstGeom prst="rect">
            <a:avLst/>
          </a:prstGeom>
        </p:spPr>
        <p:txBody>
          <a:bodyPr wrap="square" lIns="0" tIns="0" rIns="0" bIns="91440">
            <a:spAutoFit/>
          </a:bodyPr>
          <a:lstStyle/>
          <a:p>
            <a:pPr algn="r">
              <a:lnSpc>
                <a:spcPct val="120000"/>
              </a:lnSpc>
            </a:pPr>
            <a:r>
              <a:rPr sz="1100">
                <a:latin typeface="+mj-lt"/>
              </a:rPr>
              <a:t>Pistola Ergo 2000 con acoplamiento </a:t>
            </a:r>
            <a:r>
              <a:rPr sz="1100"/>
              <a:t>rápido. Concepto de accesorio ergonómico.</a:t>
            </a:r>
          </a:p>
          <a:p>
            <a:pPr algn="r">
              <a:lnSpc>
                <a:spcPct val="120000"/>
              </a:lnSpc>
            </a:pPr>
            <a:r>
              <a:rPr sz="1100"/>
              <a:t>mejora el manejo y reduce el esfuerzo</a:t>
            </a:r>
          </a:p>
        </p:txBody>
      </p:sp>
      <p:sp>
        <p:nvSpPr>
          <p:cNvPr id="73" name="Rectangle 72">
            <a:extLst>
              <a:ext uri="{FF2B5EF4-FFF2-40B4-BE49-F238E27FC236}">
                <a16:creationId xmlns:a16="http://schemas.microsoft.com/office/drawing/2014/main" id="{8E80E876-EFCE-3325-7351-3C5CE1FF9054}"/>
              </a:ext>
            </a:extLst>
          </p:cNvPr>
          <p:cNvSpPr/>
          <p:nvPr/>
        </p:nvSpPr>
        <p:spPr>
          <a:xfrm>
            <a:off x="8562970" y="2330485"/>
            <a:ext cx="3127938" cy="686213"/>
          </a:xfrm>
          <a:prstGeom prst="rect">
            <a:avLst/>
          </a:prstGeom>
        </p:spPr>
        <p:txBody>
          <a:bodyPr wrap="square" lIns="0" tIns="0" rIns="0" bIns="91440">
            <a:spAutoFit/>
          </a:bodyPr>
          <a:lstStyle/>
          <a:p>
            <a:pPr algn="r">
              <a:lnSpc>
                <a:spcPct val="120000"/>
              </a:lnSpc>
            </a:pPr>
            <a:r>
              <a:rPr sz="1100">
                <a:latin typeface="+mj-lt"/>
              </a:rPr>
              <a:t>Interfaz de usuario actualizada:</a:t>
            </a:r>
            <a:r>
              <a:rPr sz="1100"/>
              <a:t> personalice los modos de limpieza y bloquee las máquinas en la configuración deseada. Obtenga información sobre el estado de las máquinas.</a:t>
            </a:r>
          </a:p>
        </p:txBody>
      </p:sp>
      <p:sp>
        <p:nvSpPr>
          <p:cNvPr id="75" name="Rectangle 74">
            <a:extLst>
              <a:ext uri="{FF2B5EF4-FFF2-40B4-BE49-F238E27FC236}">
                <a16:creationId xmlns:a16="http://schemas.microsoft.com/office/drawing/2014/main" id="{BD877A1F-613C-C2FE-B423-7F70E5488D0C}"/>
              </a:ext>
            </a:extLst>
          </p:cNvPr>
          <p:cNvSpPr/>
          <p:nvPr/>
        </p:nvSpPr>
        <p:spPr>
          <a:xfrm>
            <a:off x="8753092" y="3361180"/>
            <a:ext cx="2937816" cy="686213"/>
          </a:xfrm>
          <a:prstGeom prst="rect">
            <a:avLst/>
          </a:prstGeom>
        </p:spPr>
        <p:txBody>
          <a:bodyPr wrap="square" lIns="0" tIns="0" rIns="0" bIns="91440">
            <a:spAutoFit/>
          </a:bodyPr>
          <a:lstStyle/>
          <a:p>
            <a:pPr algn="r">
              <a:lnSpc>
                <a:spcPct val="120000"/>
              </a:lnSpc>
            </a:pPr>
            <a:r>
              <a:rPr sz="1100">
                <a:latin typeface="+mj-lt"/>
              </a:rPr>
              <a:t>Carrete </a:t>
            </a:r>
            <a:r>
              <a:rPr sz="1100"/>
              <a:t>de manguera guiado para un manejo fácil con una sola mano</a:t>
            </a:r>
          </a:p>
          <a:p>
            <a:pPr algn="r">
              <a:lnSpc>
                <a:spcPct val="120000"/>
              </a:lnSpc>
            </a:pPr>
            <a:r>
              <a:rPr sz="1100"/>
              <a:t>Almacenamiento de manguera con enrollado y protección</a:t>
            </a:r>
          </a:p>
        </p:txBody>
      </p:sp>
      <p:sp>
        <p:nvSpPr>
          <p:cNvPr id="76" name="Rectangle 75">
            <a:extLst>
              <a:ext uri="{FF2B5EF4-FFF2-40B4-BE49-F238E27FC236}">
                <a16:creationId xmlns:a16="http://schemas.microsoft.com/office/drawing/2014/main" id="{9DB329AB-231D-1B77-9ACC-65D5F29D13D2}"/>
              </a:ext>
            </a:extLst>
          </p:cNvPr>
          <p:cNvSpPr/>
          <p:nvPr/>
        </p:nvSpPr>
        <p:spPr>
          <a:xfrm>
            <a:off x="417257" y="3998437"/>
            <a:ext cx="3438747" cy="483081"/>
          </a:xfrm>
          <a:prstGeom prst="rect">
            <a:avLst/>
          </a:prstGeom>
        </p:spPr>
        <p:txBody>
          <a:bodyPr wrap="square" lIns="0" tIns="0" rIns="0" bIns="91440">
            <a:spAutoFit/>
          </a:bodyPr>
          <a:lstStyle/>
          <a:p>
            <a:pPr>
              <a:lnSpc>
                <a:spcPct val="120000"/>
              </a:lnSpc>
            </a:pPr>
            <a:r>
              <a:rPr sz="1100" dirty="0">
                <a:latin typeface="+mj-lt"/>
              </a:rPr>
              <a:t>Freno de </a:t>
            </a:r>
            <a:r>
              <a:rPr sz="1100" dirty="0" err="1">
                <a:latin typeface="+mj-lt"/>
              </a:rPr>
              <a:t>estacionamiento</a:t>
            </a:r>
            <a:endParaRPr sz="1100" dirty="0">
              <a:latin typeface="+mj-lt"/>
            </a:endParaRPr>
          </a:p>
          <a:p>
            <a:pPr>
              <a:lnSpc>
                <a:spcPct val="120000"/>
              </a:lnSpc>
            </a:pPr>
            <a:r>
              <a:rPr sz="1100" dirty="0" err="1"/>
              <a:t>Estacionamiento</a:t>
            </a:r>
            <a:r>
              <a:rPr sz="1100" dirty="0"/>
              <a:t> </a:t>
            </a:r>
            <a:r>
              <a:rPr sz="1100" dirty="0" err="1"/>
              <a:t>fácil</a:t>
            </a:r>
            <a:r>
              <a:rPr sz="1100" dirty="0"/>
              <a:t> y </a:t>
            </a:r>
            <a:r>
              <a:rPr sz="1100" dirty="0" err="1"/>
              <a:t>freno</a:t>
            </a:r>
            <a:r>
              <a:rPr sz="1100" dirty="0"/>
              <a:t> de </a:t>
            </a:r>
            <a:r>
              <a:rPr sz="1100" dirty="0" err="1"/>
              <a:t>estacionamiento</a:t>
            </a:r>
            <a:r>
              <a:rPr sz="1100" dirty="0"/>
              <a:t> </a:t>
            </a:r>
            <a:r>
              <a:rPr sz="1100" dirty="0" err="1"/>
              <a:t>accionado</a:t>
            </a:r>
            <a:r>
              <a:rPr sz="1100" dirty="0"/>
              <a:t> con </a:t>
            </a:r>
            <a:r>
              <a:rPr sz="1100" dirty="0" err="1"/>
              <a:t>el</a:t>
            </a:r>
            <a:r>
              <a:rPr sz="1100" dirty="0"/>
              <a:t> pie</a:t>
            </a:r>
          </a:p>
        </p:txBody>
      </p:sp>
      <p:sp>
        <p:nvSpPr>
          <p:cNvPr id="77" name="Rectangle 76">
            <a:extLst>
              <a:ext uri="{FF2B5EF4-FFF2-40B4-BE49-F238E27FC236}">
                <a16:creationId xmlns:a16="http://schemas.microsoft.com/office/drawing/2014/main" id="{8EF934E6-3209-AB8B-D801-208D63D8F447}"/>
              </a:ext>
            </a:extLst>
          </p:cNvPr>
          <p:cNvSpPr/>
          <p:nvPr/>
        </p:nvSpPr>
        <p:spPr>
          <a:xfrm>
            <a:off x="8425461" y="4273419"/>
            <a:ext cx="3337016" cy="889346"/>
          </a:xfrm>
          <a:prstGeom prst="rect">
            <a:avLst/>
          </a:prstGeom>
        </p:spPr>
        <p:txBody>
          <a:bodyPr wrap="square" lIns="0" tIns="0" rIns="0" bIns="91440">
            <a:spAutoFit/>
          </a:bodyPr>
          <a:lstStyle/>
          <a:p>
            <a:pPr algn="r">
              <a:lnSpc>
                <a:spcPct val="120000"/>
              </a:lnSpc>
            </a:pPr>
            <a:r>
              <a:rPr sz="1100">
                <a:latin typeface="+mj-lt"/>
              </a:rPr>
              <a:t>Sistema interno de detergente de alta presión</a:t>
            </a:r>
          </a:p>
          <a:p>
            <a:pPr algn="r">
              <a:lnSpc>
                <a:spcPct val="120000"/>
              </a:lnSpc>
            </a:pPr>
            <a:r>
              <a:rPr sz="1100"/>
              <a:t>El sistema actualizado de dosificación precisa de detergente garantiza resultados de limpieza óptimos y un uso eficiente del producto.</a:t>
            </a:r>
          </a:p>
        </p:txBody>
      </p:sp>
      <p:cxnSp>
        <p:nvCxnSpPr>
          <p:cNvPr id="89" name="Straight Arrow Connector 88">
            <a:extLst>
              <a:ext uri="{FF2B5EF4-FFF2-40B4-BE49-F238E27FC236}">
                <a16:creationId xmlns:a16="http://schemas.microsoft.com/office/drawing/2014/main" id="{88827C2D-C99A-5FB2-323E-CFA00DD4EDD5}"/>
              </a:ext>
            </a:extLst>
          </p:cNvPr>
          <p:cNvCxnSpPr>
            <a:cxnSpLocks/>
          </p:cNvCxnSpPr>
          <p:nvPr/>
        </p:nvCxnSpPr>
        <p:spPr>
          <a:xfrm rot="10800000">
            <a:off x="4899990" y="1695236"/>
            <a:ext cx="6815100" cy="468286"/>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38">
            <a:extLst>
              <a:ext uri="{FF2B5EF4-FFF2-40B4-BE49-F238E27FC236}">
                <a16:creationId xmlns:a16="http://schemas.microsoft.com/office/drawing/2014/main" id="{EF2FA601-AE70-72A4-DE12-E89FC090C7DB}"/>
              </a:ext>
            </a:extLst>
          </p:cNvPr>
          <p:cNvCxnSpPr>
            <a:cxnSpLocks/>
          </p:cNvCxnSpPr>
          <p:nvPr/>
        </p:nvCxnSpPr>
        <p:spPr>
          <a:xfrm>
            <a:off x="488945" y="2607700"/>
            <a:ext cx="3830724" cy="57981"/>
          </a:xfrm>
          <a:prstGeom prst="bentConnector3">
            <a:avLst>
              <a:gd name="adj1" fmla="val 10002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8">
            <a:extLst>
              <a:ext uri="{FF2B5EF4-FFF2-40B4-BE49-F238E27FC236}">
                <a16:creationId xmlns:a16="http://schemas.microsoft.com/office/drawing/2014/main" id="{FE45CFEC-6C4D-DC68-8178-16AF44A226DB}"/>
              </a:ext>
            </a:extLst>
          </p:cNvPr>
          <p:cNvCxnSpPr>
            <a:cxnSpLocks/>
          </p:cNvCxnSpPr>
          <p:nvPr/>
        </p:nvCxnSpPr>
        <p:spPr>
          <a:xfrm flipV="1">
            <a:off x="69927" y="4375404"/>
            <a:ext cx="6134930" cy="1814267"/>
          </a:xfrm>
          <a:prstGeom prst="bentConnector3">
            <a:avLst>
              <a:gd name="adj1" fmla="val 55678"/>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5" name="Straight Arrow Connector 88">
            <a:extLst>
              <a:ext uri="{FF2B5EF4-FFF2-40B4-BE49-F238E27FC236}">
                <a16:creationId xmlns:a16="http://schemas.microsoft.com/office/drawing/2014/main" id="{C9AC49D3-C80A-3D20-7875-A60745C877CE}"/>
              </a:ext>
            </a:extLst>
          </p:cNvPr>
          <p:cNvCxnSpPr>
            <a:cxnSpLocks/>
          </p:cNvCxnSpPr>
          <p:nvPr/>
        </p:nvCxnSpPr>
        <p:spPr>
          <a:xfrm flipH="1" flipV="1">
            <a:off x="5589171" y="1891944"/>
            <a:ext cx="6239706" cy="1260841"/>
          </a:xfrm>
          <a:prstGeom prst="bentConnector3">
            <a:avLst>
              <a:gd name="adj1" fmla="val 6570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Arrow Connector 88">
            <a:extLst>
              <a:ext uri="{FF2B5EF4-FFF2-40B4-BE49-F238E27FC236}">
                <a16:creationId xmlns:a16="http://schemas.microsoft.com/office/drawing/2014/main" id="{15DAD289-09B7-9B76-960D-8616323DE3E7}"/>
              </a:ext>
            </a:extLst>
          </p:cNvPr>
          <p:cNvCxnSpPr>
            <a:cxnSpLocks/>
          </p:cNvCxnSpPr>
          <p:nvPr/>
        </p:nvCxnSpPr>
        <p:spPr>
          <a:xfrm rot="10800000">
            <a:off x="7796988" y="3256935"/>
            <a:ext cx="3986531" cy="917908"/>
          </a:xfrm>
          <a:prstGeom prst="bentConnector3">
            <a:avLst>
              <a:gd name="adj1" fmla="val 843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2" name="Straight Arrow Connector 88">
            <a:extLst>
              <a:ext uri="{FF2B5EF4-FFF2-40B4-BE49-F238E27FC236}">
                <a16:creationId xmlns:a16="http://schemas.microsoft.com/office/drawing/2014/main" id="{79FF6A1C-8780-49A8-E387-FC74D23360AB}"/>
              </a:ext>
            </a:extLst>
          </p:cNvPr>
          <p:cNvCxnSpPr>
            <a:cxnSpLocks/>
          </p:cNvCxnSpPr>
          <p:nvPr/>
        </p:nvCxnSpPr>
        <p:spPr>
          <a:xfrm rot="10800000">
            <a:off x="7867650" y="3676865"/>
            <a:ext cx="3845208" cy="1463374"/>
          </a:xfrm>
          <a:prstGeom prst="bentConnector3">
            <a:avLst>
              <a:gd name="adj1" fmla="val 9351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Arrow Connector 38">
            <a:extLst>
              <a:ext uri="{FF2B5EF4-FFF2-40B4-BE49-F238E27FC236}">
                <a16:creationId xmlns:a16="http://schemas.microsoft.com/office/drawing/2014/main" id="{33163BE7-F79E-B4DF-5734-8B18F518BF5C}"/>
              </a:ext>
            </a:extLst>
          </p:cNvPr>
          <p:cNvCxnSpPr>
            <a:cxnSpLocks/>
          </p:cNvCxnSpPr>
          <p:nvPr/>
        </p:nvCxnSpPr>
        <p:spPr>
          <a:xfrm flipV="1">
            <a:off x="363123" y="3129588"/>
            <a:ext cx="5601151" cy="658772"/>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38">
            <a:extLst>
              <a:ext uri="{FF2B5EF4-FFF2-40B4-BE49-F238E27FC236}">
                <a16:creationId xmlns:a16="http://schemas.microsoft.com/office/drawing/2014/main" id="{800DA95B-FAA1-7E9E-6D13-EC9E6BD6DD22}"/>
              </a:ext>
            </a:extLst>
          </p:cNvPr>
          <p:cNvCxnSpPr>
            <a:cxnSpLocks/>
          </p:cNvCxnSpPr>
          <p:nvPr/>
        </p:nvCxnSpPr>
        <p:spPr>
          <a:xfrm flipV="1">
            <a:off x="419493" y="4036007"/>
            <a:ext cx="4081337" cy="621917"/>
          </a:xfrm>
          <a:prstGeom prst="bentConnector3">
            <a:avLst>
              <a:gd name="adj1" fmla="val 6760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88">
            <a:extLst>
              <a:ext uri="{FF2B5EF4-FFF2-40B4-BE49-F238E27FC236}">
                <a16:creationId xmlns:a16="http://schemas.microsoft.com/office/drawing/2014/main" id="{99526C65-ACA3-40CD-B97F-E30F66781F85}"/>
              </a:ext>
            </a:extLst>
          </p:cNvPr>
          <p:cNvCxnSpPr>
            <a:cxnSpLocks/>
          </p:cNvCxnSpPr>
          <p:nvPr/>
        </p:nvCxnSpPr>
        <p:spPr>
          <a:xfrm flipH="1" flipV="1">
            <a:off x="8177498" y="5884552"/>
            <a:ext cx="3606021" cy="2285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5322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a:extLst>
              <a:ext uri="{FF2B5EF4-FFF2-40B4-BE49-F238E27FC236}">
                <a16:creationId xmlns:a16="http://schemas.microsoft.com/office/drawing/2014/main" id="{6DD2A94E-6708-EBF6-4888-93EAA880EBF6}"/>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5" name="Pladsholder til slidenummer 4">
            <a:extLst>
              <a:ext uri="{FF2B5EF4-FFF2-40B4-BE49-F238E27FC236}">
                <a16:creationId xmlns:a16="http://schemas.microsoft.com/office/drawing/2014/main" id="{AACDE239-48EB-97DD-2C71-95D193414485}"/>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18</a:t>
            </a:fld>
            <a:endParaRPr lang="en-GB" noProof="0" dirty="0"/>
          </a:p>
        </p:txBody>
      </p:sp>
      <p:sp>
        <p:nvSpPr>
          <p:cNvPr id="17" name="Text Placeholder 5">
            <a:extLst>
              <a:ext uri="{FF2B5EF4-FFF2-40B4-BE49-F238E27FC236}">
                <a16:creationId xmlns:a16="http://schemas.microsoft.com/office/drawing/2014/main" id="{667C5442-2B4C-4278-9FAB-BBEA208FB954}"/>
              </a:ext>
            </a:extLst>
          </p:cNvPr>
          <p:cNvSpPr>
            <a:spLocks noGrp="1"/>
          </p:cNvSpPr>
          <p:nvPr>
            <p:ph type="body" sz="quarter" idx="14"/>
          </p:nvPr>
        </p:nvSpPr>
        <p:spPr>
          <a:xfrm>
            <a:off x="475521" y="873877"/>
            <a:ext cx="11235102" cy="376456"/>
          </a:xfrm>
        </p:spPr>
        <p:txBody>
          <a:bodyPr vert="horz" lIns="0" tIns="0" rIns="0" bIns="0" rtlCol="0" anchor="t">
            <a:normAutofit/>
          </a:bodyPr>
          <a:lstStyle/>
          <a:p>
            <a:r>
              <a:t>Simplicidad digital</a:t>
            </a:r>
          </a:p>
        </p:txBody>
      </p:sp>
      <p:sp>
        <p:nvSpPr>
          <p:cNvPr id="19" name="Title 6">
            <a:extLst>
              <a:ext uri="{FF2B5EF4-FFF2-40B4-BE49-F238E27FC236}">
                <a16:creationId xmlns:a16="http://schemas.microsoft.com/office/drawing/2014/main" id="{81D98FB9-8E95-4544-7B4D-9E81B1AD36C5}"/>
              </a:ext>
            </a:extLst>
          </p:cNvPr>
          <p:cNvSpPr>
            <a:spLocks noGrp="1"/>
          </p:cNvSpPr>
          <p:nvPr>
            <p:ph type="title"/>
          </p:nvPr>
        </p:nvSpPr>
        <p:spPr>
          <a:xfrm>
            <a:off x="479425" y="494490"/>
            <a:ext cx="11233150" cy="388013"/>
          </a:xfrm>
        </p:spPr>
        <p:txBody>
          <a:bodyPr anchor="t">
            <a:noAutofit/>
          </a:bodyPr>
          <a:lstStyle/>
          <a:p>
            <a:r>
              <a:t>Interfaz de usuario mejorada</a:t>
            </a:r>
          </a:p>
        </p:txBody>
      </p:sp>
      <p:pic>
        <p:nvPicPr>
          <p:cNvPr id="10" name="Picture 9" descr="A close-up of a device&#10;&#10;AI-generated content may be incorrect.">
            <a:extLst>
              <a:ext uri="{FF2B5EF4-FFF2-40B4-BE49-F238E27FC236}">
                <a16:creationId xmlns:a16="http://schemas.microsoft.com/office/drawing/2014/main" id="{65CA3DBB-70E6-3C22-E650-FF1CFC0E7DB3}"/>
              </a:ext>
            </a:extLst>
          </p:cNvPr>
          <p:cNvPicPr>
            <a:picLocks noChangeAspect="1"/>
          </p:cNvPicPr>
          <p:nvPr/>
        </p:nvPicPr>
        <p:blipFill>
          <a:blip r:embed="rId2"/>
          <a:stretch>
            <a:fillRect/>
          </a:stretch>
        </p:blipFill>
        <p:spPr>
          <a:xfrm>
            <a:off x="6388553" y="1925183"/>
            <a:ext cx="4903108" cy="3007633"/>
          </a:xfrm>
          <a:prstGeom prst="rect">
            <a:avLst/>
          </a:prstGeom>
        </p:spPr>
      </p:pic>
      <p:sp>
        <p:nvSpPr>
          <p:cNvPr id="12" name="Content Placeholder 11">
            <a:extLst>
              <a:ext uri="{FF2B5EF4-FFF2-40B4-BE49-F238E27FC236}">
                <a16:creationId xmlns:a16="http://schemas.microsoft.com/office/drawing/2014/main" id="{0F5103EC-A405-4DC2-A248-70846EAD9DAD}"/>
              </a:ext>
            </a:extLst>
          </p:cNvPr>
          <p:cNvSpPr>
            <a:spLocks noGrp="1"/>
          </p:cNvSpPr>
          <p:nvPr>
            <p:ph sz="quarter" idx="18"/>
          </p:nvPr>
        </p:nvSpPr>
        <p:spPr>
          <a:xfrm>
            <a:off x="479424" y="1520455"/>
            <a:ext cx="5832885" cy="4610837"/>
          </a:xfrm>
        </p:spPr>
        <p:txBody>
          <a:bodyPr vert="horz" lIns="216000" tIns="216000" rIns="180000" bIns="216000" rtlCol="0" anchor="t">
            <a:noAutofit/>
          </a:bodyPr>
          <a:lstStyle/>
          <a:p>
            <a:pPr marL="171450" indent="-171450">
              <a:spcBef>
                <a:spcPts val="1000"/>
              </a:spcBef>
            </a:pPr>
            <a:r>
              <a:rPr sz="1200"/>
              <a:t>Encienda la máquina con el interruptor de encendido/apagado; se iniciará con el último ajuste preestablecido utilizado.</a:t>
            </a:r>
            <a:endParaRPr lang="en-GB" sz="1600" noProof="0" dirty="0"/>
          </a:p>
          <a:p>
            <a:pPr marL="198755" indent="-198755">
              <a:spcBef>
                <a:spcPts val="1000"/>
              </a:spcBef>
            </a:pPr>
            <a:r>
              <a:rPr sz="1200"/>
              <a:t>Ajuste la máquina mediante el resistente botón giratorio y los botones impermeables de retroceso y de menú.</a:t>
            </a:r>
          </a:p>
          <a:p>
            <a:pPr marL="198755" indent="-198755">
              <a:spcBef>
                <a:spcPts val="1000"/>
              </a:spcBef>
            </a:pPr>
            <a:r>
              <a:rPr sz="1200"/>
              <a:t>La máquina cuenta con 5 configuraciones preestablecidas que pueden ajustarse rápidamente, ocultarse o ampliarse añadiendo más con nombres personalizados.</a:t>
            </a:r>
          </a:p>
          <a:p>
            <a:pPr marL="198755" indent="-198755">
              <a:spcBef>
                <a:spcPts val="1000"/>
              </a:spcBef>
            </a:pPr>
            <a:r>
              <a:rPr sz="1200"/>
              <a:t>La pantalla muestra la temperatura, la presión y el porcentaje de la solución detergente.</a:t>
            </a:r>
          </a:p>
          <a:p>
            <a:pPr marL="198755" indent="-198755">
              <a:spcBef>
                <a:spcPts val="1000"/>
              </a:spcBef>
            </a:pPr>
            <a:r>
              <a:rPr sz="1200"/>
              <a:t>Los ajustes pueden bloquearse para controlar la temperatura de la máquina y la dosificación de detergente, optimizando los costes y garantizando la seguridad.</a:t>
            </a:r>
          </a:p>
          <a:p>
            <a:pPr marL="198755" indent="-198755">
              <a:spcBef>
                <a:spcPts val="1000"/>
              </a:spcBef>
            </a:pPr>
            <a:r>
              <a:rPr sz="1200"/>
              <a:t>La pantalla se puede configurar en los idiomas locales.</a:t>
            </a:r>
          </a:p>
          <a:p>
            <a:pPr marL="198755" indent="-198755">
              <a:spcBef>
                <a:spcPts val="1000"/>
              </a:spcBef>
            </a:pPr>
            <a:r>
              <a:rPr sz="1200"/>
              <a:t>Cuando se requiere servicio, se presentan trabajos de mantenimiento menores o se detectan fallos, la pantalla muestra una notificación emergente con los próximos pasos para facilitar la gestión y mantener la máquina limpiando.</a:t>
            </a:r>
          </a:p>
          <a:p>
            <a:pPr marL="198755" indent="-198755">
              <a:spcBef>
                <a:spcPts val="1000"/>
              </a:spcBef>
            </a:pPr>
            <a:r>
              <a:rPr sz="1200"/>
              <a:t>Las máquinas pueden mostrar las mejores prácticas de limpieza HPW, ofrecer orientación para incorporar a los usuarios y proporcionar información sobre su uso.</a:t>
            </a:r>
            <a:endParaRPr lang="en-GB" sz="1200" noProof="0" dirty="0"/>
          </a:p>
        </p:txBody>
      </p:sp>
    </p:spTree>
    <p:extLst>
      <p:ext uri="{BB962C8B-B14F-4D97-AF65-F5344CB8AC3E}">
        <p14:creationId xmlns:p14="http://schemas.microsoft.com/office/powerpoint/2010/main" val="6332209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9350F49-70A5-CC85-9937-8D985624A3C6}"/>
              </a:ext>
            </a:extLst>
          </p:cNvPr>
          <p:cNvSpPr>
            <a:spLocks noGrp="1"/>
          </p:cNvSpPr>
          <p:nvPr>
            <p:ph type="body" sz="quarter" idx="14"/>
          </p:nvPr>
        </p:nvSpPr>
        <p:spPr/>
        <p:txBody>
          <a:bodyPr vert="horz" lIns="0" tIns="0" rIns="0" bIns="0" rtlCol="0" anchor="t">
            <a:noAutofit/>
          </a:bodyPr>
          <a:lstStyle/>
          <a:p>
            <a:r>
              <a:t>Uso inicial y familiarización con la máquina y su interfaz de usuario</a:t>
            </a:r>
            <a:endParaRPr lang="en-GB" noProof="0" dirty="0"/>
          </a:p>
        </p:txBody>
      </p:sp>
      <p:sp>
        <p:nvSpPr>
          <p:cNvPr id="7" name="Title 6">
            <a:extLst>
              <a:ext uri="{FF2B5EF4-FFF2-40B4-BE49-F238E27FC236}">
                <a16:creationId xmlns:a16="http://schemas.microsoft.com/office/drawing/2014/main" id="{B2457487-FA7A-B85D-30C1-5971360BFD59}"/>
              </a:ext>
            </a:extLst>
          </p:cNvPr>
          <p:cNvSpPr>
            <a:spLocks noGrp="1"/>
          </p:cNvSpPr>
          <p:nvPr>
            <p:ph type="title"/>
          </p:nvPr>
        </p:nvSpPr>
        <p:spPr/>
        <p:txBody>
          <a:bodyPr/>
          <a:lstStyle/>
          <a:p>
            <a:r>
              <a:t>Interfaz de usuario mejorada</a:t>
            </a:r>
            <a:endParaRPr lang="en-GB" sz="3200" noProof="0" dirty="0">
              <a:ea typeface="+mj-lt"/>
              <a:cs typeface="+mj-lt"/>
            </a:endParaRPr>
          </a:p>
        </p:txBody>
      </p:sp>
      <p:sp>
        <p:nvSpPr>
          <p:cNvPr id="2" name="Footer Placeholder 1">
            <a:extLst>
              <a:ext uri="{FF2B5EF4-FFF2-40B4-BE49-F238E27FC236}">
                <a16:creationId xmlns:a16="http://schemas.microsoft.com/office/drawing/2014/main" id="{C3774DC1-357D-5777-97F0-0528BB22DBC4}"/>
              </a:ext>
            </a:extLst>
          </p:cNvPr>
          <p:cNvSpPr>
            <a:spLocks noGrp="1"/>
          </p:cNvSpPr>
          <p:nvPr>
            <p:ph type="ftr" sz="quarter" idx="16"/>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6189CF82-7D3F-9547-5370-B1177B012A31}"/>
              </a:ext>
            </a:extLst>
          </p:cNvPr>
          <p:cNvSpPr>
            <a:spLocks noGrp="1"/>
          </p:cNvSpPr>
          <p:nvPr>
            <p:ph type="sldNum" sz="quarter" idx="17"/>
          </p:nvPr>
        </p:nvSpPr>
        <p:spPr/>
        <p:txBody>
          <a:bodyPr/>
          <a:lstStyle/>
          <a:p>
            <a:fld id="{6C385236-B7BA-4938-9EA6-6DEC8CA653D7}" type="slidenum">
              <a:rPr lang="en-GB" noProof="0" smtClean="0"/>
              <a:pPr/>
              <a:t>19</a:t>
            </a:fld>
            <a:endParaRPr lang="en-GB" noProof="0" dirty="0"/>
          </a:p>
        </p:txBody>
      </p:sp>
      <p:sp>
        <p:nvSpPr>
          <p:cNvPr id="9" name="TextBox 8">
            <a:extLst>
              <a:ext uri="{FF2B5EF4-FFF2-40B4-BE49-F238E27FC236}">
                <a16:creationId xmlns:a16="http://schemas.microsoft.com/office/drawing/2014/main" id="{3545B890-683C-732A-AF7F-10CCB088B8D5}"/>
              </a:ext>
            </a:extLst>
          </p:cNvPr>
          <p:cNvSpPr txBox="1"/>
          <p:nvPr/>
        </p:nvSpPr>
        <p:spPr>
          <a:xfrm>
            <a:off x="489857" y="1396999"/>
            <a:ext cx="983355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sz="1600" b="1"/>
              <a:t>Primer </a:t>
            </a:r>
            <a:r>
              <a:rPr sz="1600"/>
              <a:t>uso: el usuario es guiado a través de esta secuencia al encender por primera vez una máquina nueva.</a:t>
            </a:r>
          </a:p>
        </p:txBody>
      </p:sp>
      <p:pic>
        <p:nvPicPr>
          <p:cNvPr id="10" name="Picture 9" descr="A screenshot of a video game&#10;&#10;AI-generated content may be incorrect.">
            <a:extLst>
              <a:ext uri="{FF2B5EF4-FFF2-40B4-BE49-F238E27FC236}">
                <a16:creationId xmlns:a16="http://schemas.microsoft.com/office/drawing/2014/main" id="{B1078874-7412-2212-07F7-6FA703C1E9E1}"/>
              </a:ext>
            </a:extLst>
          </p:cNvPr>
          <p:cNvPicPr>
            <a:picLocks noChangeAspect="1"/>
          </p:cNvPicPr>
          <p:nvPr/>
        </p:nvPicPr>
        <p:blipFill>
          <a:blip r:embed="rId2"/>
          <a:stretch>
            <a:fillRect/>
          </a:stretch>
        </p:blipFill>
        <p:spPr>
          <a:xfrm>
            <a:off x="476476" y="1720397"/>
            <a:ext cx="2095047" cy="1194707"/>
          </a:xfrm>
          <a:prstGeom prst="rect">
            <a:avLst/>
          </a:prstGeom>
        </p:spPr>
      </p:pic>
      <p:pic>
        <p:nvPicPr>
          <p:cNvPr id="11" name="Picture 10" descr="A screen shot of a device&#10;&#10;AI-generated content may be incorrect.">
            <a:extLst>
              <a:ext uri="{FF2B5EF4-FFF2-40B4-BE49-F238E27FC236}">
                <a16:creationId xmlns:a16="http://schemas.microsoft.com/office/drawing/2014/main" id="{A298E303-8C17-27E2-5768-9572BB9CFC2B}"/>
              </a:ext>
            </a:extLst>
          </p:cNvPr>
          <p:cNvPicPr>
            <a:picLocks noChangeAspect="1"/>
          </p:cNvPicPr>
          <p:nvPr/>
        </p:nvPicPr>
        <p:blipFill>
          <a:blip r:embed="rId3"/>
          <a:stretch>
            <a:fillRect/>
          </a:stretch>
        </p:blipFill>
        <p:spPr>
          <a:xfrm>
            <a:off x="2721428" y="1710870"/>
            <a:ext cx="2086429" cy="1195615"/>
          </a:xfrm>
          <a:prstGeom prst="rect">
            <a:avLst/>
          </a:prstGeom>
        </p:spPr>
      </p:pic>
      <p:pic>
        <p:nvPicPr>
          <p:cNvPr id="12" name="Picture 11" descr="A screenshot of a video game&#10;&#10;AI-generated content may be incorrect.">
            <a:extLst>
              <a:ext uri="{FF2B5EF4-FFF2-40B4-BE49-F238E27FC236}">
                <a16:creationId xmlns:a16="http://schemas.microsoft.com/office/drawing/2014/main" id="{CD920714-4D45-4D89-C298-089093842CC0}"/>
              </a:ext>
            </a:extLst>
          </p:cNvPr>
          <p:cNvPicPr>
            <a:picLocks noChangeAspect="1"/>
          </p:cNvPicPr>
          <p:nvPr/>
        </p:nvPicPr>
        <p:blipFill>
          <a:blip r:embed="rId4"/>
          <a:stretch>
            <a:fillRect/>
          </a:stretch>
        </p:blipFill>
        <p:spPr>
          <a:xfrm>
            <a:off x="4953453" y="1711324"/>
            <a:ext cx="2149022" cy="1194708"/>
          </a:xfrm>
          <a:prstGeom prst="rect">
            <a:avLst/>
          </a:prstGeom>
        </p:spPr>
      </p:pic>
      <p:pic>
        <p:nvPicPr>
          <p:cNvPr id="13" name="Picture 12" descr="A black and white screen with white text&#10;&#10;AI-generated content may be incorrect.">
            <a:extLst>
              <a:ext uri="{FF2B5EF4-FFF2-40B4-BE49-F238E27FC236}">
                <a16:creationId xmlns:a16="http://schemas.microsoft.com/office/drawing/2014/main" id="{E4875921-6787-F5CA-782D-8A2A39F2CB13}"/>
              </a:ext>
            </a:extLst>
          </p:cNvPr>
          <p:cNvPicPr>
            <a:picLocks noChangeAspect="1"/>
          </p:cNvPicPr>
          <p:nvPr/>
        </p:nvPicPr>
        <p:blipFill>
          <a:blip r:embed="rId5" cstate="hqprint">
            <a:extLst>
              <a:ext uri="{28A0092B-C50C-407E-A947-70E740481C1C}">
                <a14:useLocalDpi xmlns:a14="http://schemas.microsoft.com/office/drawing/2010/main"/>
              </a:ext>
            </a:extLst>
          </a:blip>
          <a:srcRect r="-398"/>
          <a:stretch>
            <a:fillRect/>
          </a:stretch>
        </p:blipFill>
        <p:spPr>
          <a:xfrm>
            <a:off x="7242855" y="1710871"/>
            <a:ext cx="2142205" cy="1195654"/>
          </a:xfrm>
          <a:prstGeom prst="rect">
            <a:avLst/>
          </a:prstGeom>
        </p:spPr>
      </p:pic>
      <p:pic>
        <p:nvPicPr>
          <p:cNvPr id="14" name="Picture 13" descr="A screen shot of a device&#10;&#10;AI-generated content may be incorrect.">
            <a:extLst>
              <a:ext uri="{FF2B5EF4-FFF2-40B4-BE49-F238E27FC236}">
                <a16:creationId xmlns:a16="http://schemas.microsoft.com/office/drawing/2014/main" id="{EE847A92-7748-35CE-5595-C96C6D864920}"/>
              </a:ext>
            </a:extLst>
          </p:cNvPr>
          <p:cNvPicPr>
            <a:picLocks noChangeAspect="1"/>
          </p:cNvPicPr>
          <p:nvPr/>
        </p:nvPicPr>
        <p:blipFill>
          <a:blip r:embed="rId6"/>
          <a:stretch>
            <a:fillRect/>
          </a:stretch>
        </p:blipFill>
        <p:spPr>
          <a:xfrm>
            <a:off x="9556976" y="1716087"/>
            <a:ext cx="2158547" cy="1185182"/>
          </a:xfrm>
          <a:prstGeom prst="rect">
            <a:avLst/>
          </a:prstGeom>
        </p:spPr>
      </p:pic>
      <p:sp>
        <p:nvSpPr>
          <p:cNvPr id="15" name="TextBox 14">
            <a:extLst>
              <a:ext uri="{FF2B5EF4-FFF2-40B4-BE49-F238E27FC236}">
                <a16:creationId xmlns:a16="http://schemas.microsoft.com/office/drawing/2014/main" id="{F4B544EC-A492-BFFF-1623-9C5411CBAEDD}"/>
              </a:ext>
            </a:extLst>
          </p:cNvPr>
          <p:cNvSpPr txBox="1"/>
          <p:nvPr/>
        </p:nvSpPr>
        <p:spPr>
          <a:xfrm>
            <a:off x="480785" y="3111499"/>
            <a:ext cx="751114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sz="1600" b="1"/>
              <a:t>Guía de </a:t>
            </a:r>
            <a:r>
              <a:rPr sz="1600"/>
              <a:t>inicio rápido: disponible en el menú y puede activarse al iniciar.</a:t>
            </a:r>
            <a:endParaRPr lang="en-GB" sz="1600" noProof="0" dirty="0"/>
          </a:p>
        </p:txBody>
      </p:sp>
      <p:pic>
        <p:nvPicPr>
          <p:cNvPr id="16" name="Picture 15" descr="A screenshot of a device&#10;&#10;AI-generated content may be incorrect.">
            <a:extLst>
              <a:ext uri="{FF2B5EF4-FFF2-40B4-BE49-F238E27FC236}">
                <a16:creationId xmlns:a16="http://schemas.microsoft.com/office/drawing/2014/main" id="{42712213-C535-6372-4CAB-EF330D9747BC}"/>
              </a:ext>
            </a:extLst>
          </p:cNvPr>
          <p:cNvPicPr>
            <a:picLocks noChangeAspect="1"/>
          </p:cNvPicPr>
          <p:nvPr/>
        </p:nvPicPr>
        <p:blipFill>
          <a:blip r:embed="rId7"/>
          <a:stretch>
            <a:fillRect/>
          </a:stretch>
        </p:blipFill>
        <p:spPr>
          <a:xfrm>
            <a:off x="492351" y="3430134"/>
            <a:ext cx="2081440" cy="1186090"/>
          </a:xfrm>
          <a:prstGeom prst="rect">
            <a:avLst/>
          </a:prstGeom>
        </p:spPr>
      </p:pic>
      <p:pic>
        <p:nvPicPr>
          <p:cNvPr id="17" name="Picture 16" descr="A screen shot of a device&#10;&#10;AI-generated content may be incorrect.">
            <a:extLst>
              <a:ext uri="{FF2B5EF4-FFF2-40B4-BE49-F238E27FC236}">
                <a16:creationId xmlns:a16="http://schemas.microsoft.com/office/drawing/2014/main" id="{C33F3A6F-9114-F599-9A71-2FCFDF39FE78}"/>
              </a:ext>
            </a:extLst>
          </p:cNvPr>
          <p:cNvPicPr>
            <a:picLocks noChangeAspect="1"/>
          </p:cNvPicPr>
          <p:nvPr/>
        </p:nvPicPr>
        <p:blipFill>
          <a:blip r:embed="rId8"/>
          <a:stretch>
            <a:fillRect/>
          </a:stretch>
        </p:blipFill>
        <p:spPr>
          <a:xfrm>
            <a:off x="2719842" y="3432856"/>
            <a:ext cx="2089604" cy="1180647"/>
          </a:xfrm>
          <a:prstGeom prst="rect">
            <a:avLst/>
          </a:prstGeom>
        </p:spPr>
      </p:pic>
      <p:pic>
        <p:nvPicPr>
          <p:cNvPr id="18" name="Picture 17" descr="A close-up of a device&#10;&#10;AI-generated content may be incorrect.">
            <a:extLst>
              <a:ext uri="{FF2B5EF4-FFF2-40B4-BE49-F238E27FC236}">
                <a16:creationId xmlns:a16="http://schemas.microsoft.com/office/drawing/2014/main" id="{A7A0D0D5-3701-7401-1D34-783BA2421465}"/>
              </a:ext>
            </a:extLst>
          </p:cNvPr>
          <p:cNvPicPr>
            <a:picLocks noChangeAspect="1"/>
          </p:cNvPicPr>
          <p:nvPr/>
        </p:nvPicPr>
        <p:blipFill>
          <a:blip r:embed="rId9"/>
          <a:stretch>
            <a:fillRect/>
          </a:stretch>
        </p:blipFill>
        <p:spPr>
          <a:xfrm>
            <a:off x="4951412" y="3431948"/>
            <a:ext cx="2153104" cy="1182461"/>
          </a:xfrm>
          <a:prstGeom prst="rect">
            <a:avLst/>
          </a:prstGeom>
        </p:spPr>
      </p:pic>
      <p:pic>
        <p:nvPicPr>
          <p:cNvPr id="19" name="Picture 18" descr="A screenshot of a video game&#10;&#10;AI-generated content may be incorrect.">
            <a:extLst>
              <a:ext uri="{FF2B5EF4-FFF2-40B4-BE49-F238E27FC236}">
                <a16:creationId xmlns:a16="http://schemas.microsoft.com/office/drawing/2014/main" id="{51313AB9-77E6-A21D-4BD4-7EBB3673793E}"/>
              </a:ext>
            </a:extLst>
          </p:cNvPr>
          <p:cNvPicPr>
            <a:picLocks noChangeAspect="1"/>
          </p:cNvPicPr>
          <p:nvPr/>
        </p:nvPicPr>
        <p:blipFill>
          <a:blip r:embed="rId10"/>
          <a:stretch>
            <a:fillRect/>
          </a:stretch>
        </p:blipFill>
        <p:spPr>
          <a:xfrm>
            <a:off x="7244669" y="3430361"/>
            <a:ext cx="2156733" cy="1185636"/>
          </a:xfrm>
          <a:prstGeom prst="rect">
            <a:avLst/>
          </a:prstGeom>
        </p:spPr>
      </p:pic>
      <p:pic>
        <p:nvPicPr>
          <p:cNvPr id="22" name="Picture 21" descr="A screenshot of a video game&#10;&#10;AI-generated content may be incorrect.">
            <a:extLst>
              <a:ext uri="{FF2B5EF4-FFF2-40B4-BE49-F238E27FC236}">
                <a16:creationId xmlns:a16="http://schemas.microsoft.com/office/drawing/2014/main" id="{633C228B-E1C4-8EAE-95FA-5E204709BEEF}"/>
              </a:ext>
            </a:extLst>
          </p:cNvPr>
          <p:cNvPicPr>
            <a:picLocks noChangeAspect="1"/>
          </p:cNvPicPr>
          <p:nvPr/>
        </p:nvPicPr>
        <p:blipFill>
          <a:blip r:embed="rId11"/>
          <a:stretch>
            <a:fillRect/>
          </a:stretch>
        </p:blipFill>
        <p:spPr>
          <a:xfrm>
            <a:off x="9557204" y="3427640"/>
            <a:ext cx="2149022" cy="1191079"/>
          </a:xfrm>
          <a:prstGeom prst="rect">
            <a:avLst/>
          </a:prstGeom>
        </p:spPr>
      </p:pic>
      <p:sp>
        <p:nvSpPr>
          <p:cNvPr id="23" name="TextBox 22">
            <a:extLst>
              <a:ext uri="{FF2B5EF4-FFF2-40B4-BE49-F238E27FC236}">
                <a16:creationId xmlns:a16="http://schemas.microsoft.com/office/drawing/2014/main" id="{F6D5176F-78D7-B69F-0621-E6EF84D145AA}"/>
              </a:ext>
            </a:extLst>
          </p:cNvPr>
          <p:cNvSpPr txBox="1"/>
          <p:nvPr/>
        </p:nvSpPr>
        <p:spPr>
          <a:xfrm>
            <a:off x="489856" y="4789713"/>
            <a:ext cx="9352641"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sz="1600" b="1"/>
              <a:t>Guía de uso </a:t>
            </a:r>
            <a:r>
              <a:rPr sz="1600"/>
              <a:t>de la máquina: orientación sobre la interfaz de usuario y los puntos de interacción</a:t>
            </a:r>
            <a:endParaRPr lang="en-GB" sz="1600" noProof="0" dirty="0"/>
          </a:p>
        </p:txBody>
      </p:sp>
      <p:pic>
        <p:nvPicPr>
          <p:cNvPr id="24" name="Picture 23">
            <a:extLst>
              <a:ext uri="{FF2B5EF4-FFF2-40B4-BE49-F238E27FC236}">
                <a16:creationId xmlns:a16="http://schemas.microsoft.com/office/drawing/2014/main" id="{23708F5F-80FF-63D5-1A19-5773B4AA3F83}"/>
              </a:ext>
            </a:extLst>
          </p:cNvPr>
          <p:cNvPicPr>
            <a:picLocks noChangeAspect="1"/>
          </p:cNvPicPr>
          <p:nvPr/>
        </p:nvPicPr>
        <p:blipFill>
          <a:blip r:embed="rId12"/>
          <a:stretch>
            <a:fillRect/>
          </a:stretch>
        </p:blipFill>
        <p:spPr>
          <a:xfrm>
            <a:off x="482374" y="5116058"/>
            <a:ext cx="2083254" cy="1252311"/>
          </a:xfrm>
          <a:prstGeom prst="rect">
            <a:avLst/>
          </a:prstGeom>
        </p:spPr>
      </p:pic>
      <p:pic>
        <p:nvPicPr>
          <p:cNvPr id="25" name="Picture 24">
            <a:extLst>
              <a:ext uri="{FF2B5EF4-FFF2-40B4-BE49-F238E27FC236}">
                <a16:creationId xmlns:a16="http://schemas.microsoft.com/office/drawing/2014/main" id="{36FB1458-9B9B-EEE6-20BC-145131AC0FD2}"/>
              </a:ext>
            </a:extLst>
          </p:cNvPr>
          <p:cNvPicPr>
            <a:picLocks noChangeAspect="1"/>
          </p:cNvPicPr>
          <p:nvPr/>
        </p:nvPicPr>
        <p:blipFill>
          <a:blip r:embed="rId13"/>
          <a:stretch>
            <a:fillRect/>
          </a:stretch>
        </p:blipFill>
        <p:spPr>
          <a:xfrm>
            <a:off x="2718707" y="5116058"/>
            <a:ext cx="2091872" cy="1252311"/>
          </a:xfrm>
          <a:prstGeom prst="rect">
            <a:avLst/>
          </a:prstGeom>
        </p:spPr>
      </p:pic>
      <p:pic>
        <p:nvPicPr>
          <p:cNvPr id="26" name="Picture 25" descr="A screen shot of a device&#10;&#10;AI-generated content may be incorrect.">
            <a:extLst>
              <a:ext uri="{FF2B5EF4-FFF2-40B4-BE49-F238E27FC236}">
                <a16:creationId xmlns:a16="http://schemas.microsoft.com/office/drawing/2014/main" id="{2675324C-52E2-2BA7-F8B8-F1CB4382FC25}"/>
              </a:ext>
            </a:extLst>
          </p:cNvPr>
          <p:cNvPicPr>
            <a:picLocks noChangeAspect="1"/>
          </p:cNvPicPr>
          <p:nvPr/>
        </p:nvPicPr>
        <p:blipFill>
          <a:blip r:embed="rId14"/>
          <a:stretch>
            <a:fillRect/>
          </a:stretch>
        </p:blipFill>
        <p:spPr>
          <a:xfrm>
            <a:off x="4950279" y="5111750"/>
            <a:ext cx="2155372" cy="1251858"/>
          </a:xfrm>
          <a:prstGeom prst="rect">
            <a:avLst/>
          </a:prstGeom>
        </p:spPr>
      </p:pic>
      <p:pic>
        <p:nvPicPr>
          <p:cNvPr id="27" name="Picture 26" descr="A black and blue device with text&#10;&#10;AI-generated content may be incorrect.">
            <a:extLst>
              <a:ext uri="{FF2B5EF4-FFF2-40B4-BE49-F238E27FC236}">
                <a16:creationId xmlns:a16="http://schemas.microsoft.com/office/drawing/2014/main" id="{B63BD821-738B-97C7-9C31-08B3B18870F5}"/>
              </a:ext>
            </a:extLst>
          </p:cNvPr>
          <p:cNvPicPr>
            <a:picLocks noChangeAspect="1"/>
          </p:cNvPicPr>
          <p:nvPr/>
        </p:nvPicPr>
        <p:blipFill>
          <a:blip r:embed="rId15"/>
          <a:stretch>
            <a:fillRect/>
          </a:stretch>
        </p:blipFill>
        <p:spPr>
          <a:xfrm>
            <a:off x="7240588" y="5114698"/>
            <a:ext cx="2146754" cy="1255033"/>
          </a:xfrm>
          <a:prstGeom prst="rect">
            <a:avLst/>
          </a:prstGeom>
        </p:spPr>
      </p:pic>
      <p:pic>
        <p:nvPicPr>
          <p:cNvPr id="28" name="Picture 27">
            <a:extLst>
              <a:ext uri="{FF2B5EF4-FFF2-40B4-BE49-F238E27FC236}">
                <a16:creationId xmlns:a16="http://schemas.microsoft.com/office/drawing/2014/main" id="{E7982179-8EFB-9B7A-5352-A658195B2962}"/>
              </a:ext>
            </a:extLst>
          </p:cNvPr>
          <p:cNvPicPr>
            <a:picLocks noChangeAspect="1"/>
          </p:cNvPicPr>
          <p:nvPr/>
        </p:nvPicPr>
        <p:blipFill>
          <a:blip r:embed="rId16"/>
          <a:stretch>
            <a:fillRect/>
          </a:stretch>
        </p:blipFill>
        <p:spPr>
          <a:xfrm>
            <a:off x="9553802" y="5110843"/>
            <a:ext cx="2155826" cy="1244601"/>
          </a:xfrm>
          <a:prstGeom prst="rect">
            <a:avLst/>
          </a:prstGeom>
        </p:spPr>
      </p:pic>
    </p:spTree>
    <p:extLst>
      <p:ext uri="{BB962C8B-B14F-4D97-AF65-F5344CB8AC3E}">
        <p14:creationId xmlns:p14="http://schemas.microsoft.com/office/powerpoint/2010/main" val="23535591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6946D-2B2A-40C4-3ACD-EBF379F6272D}"/>
              </a:ext>
            </a:extLst>
          </p:cNvPr>
          <p:cNvSpPr>
            <a:spLocks noGrp="1"/>
          </p:cNvSpPr>
          <p:nvPr>
            <p:ph type="title"/>
          </p:nvPr>
        </p:nvSpPr>
        <p:spPr/>
        <p:txBody>
          <a:bodyPr/>
          <a:lstStyle/>
          <a:p>
            <a:r>
              <a:t>Agenda</a:t>
            </a:r>
          </a:p>
        </p:txBody>
      </p:sp>
      <p:sp>
        <p:nvSpPr>
          <p:cNvPr id="3" name="Text Placeholder 2">
            <a:extLst>
              <a:ext uri="{FF2B5EF4-FFF2-40B4-BE49-F238E27FC236}">
                <a16:creationId xmlns:a16="http://schemas.microsoft.com/office/drawing/2014/main" id="{6FD1D123-95EC-AB19-E570-95199E411A61}"/>
              </a:ext>
            </a:extLst>
          </p:cNvPr>
          <p:cNvSpPr>
            <a:spLocks noGrp="1"/>
          </p:cNvSpPr>
          <p:nvPr>
            <p:ph type="body" sz="quarter" idx="37"/>
          </p:nvPr>
        </p:nvSpPr>
        <p:spPr>
          <a:xfrm>
            <a:off x="1968167" y="1381125"/>
            <a:ext cx="1962388" cy="698238"/>
          </a:xfrm>
        </p:spPr>
        <p:txBody>
          <a:bodyPr/>
          <a:lstStyle/>
          <a:p>
            <a:r>
              <a:t>Propuesta de valor</a:t>
            </a:r>
          </a:p>
        </p:txBody>
      </p:sp>
      <p:sp>
        <p:nvSpPr>
          <p:cNvPr id="4" name="Text Placeholder 3">
            <a:extLst>
              <a:ext uri="{FF2B5EF4-FFF2-40B4-BE49-F238E27FC236}">
                <a16:creationId xmlns:a16="http://schemas.microsoft.com/office/drawing/2014/main" id="{59DC879C-5ADF-E127-058B-95F2A07B6C49}"/>
              </a:ext>
            </a:extLst>
          </p:cNvPr>
          <p:cNvSpPr>
            <a:spLocks noGrp="1"/>
          </p:cNvSpPr>
          <p:nvPr>
            <p:ph type="body" sz="quarter" idx="38"/>
          </p:nvPr>
        </p:nvSpPr>
        <p:spPr>
          <a:xfrm>
            <a:off x="1968167" y="2222844"/>
            <a:ext cx="2284746" cy="698238"/>
          </a:xfrm>
        </p:spPr>
        <p:txBody>
          <a:bodyPr/>
          <a:lstStyle/>
          <a:p>
            <a:r>
              <a:t>Marca y diseño</a:t>
            </a:r>
          </a:p>
        </p:txBody>
      </p:sp>
      <p:sp>
        <p:nvSpPr>
          <p:cNvPr id="5" name="Text Placeholder 4">
            <a:extLst>
              <a:ext uri="{FF2B5EF4-FFF2-40B4-BE49-F238E27FC236}">
                <a16:creationId xmlns:a16="http://schemas.microsoft.com/office/drawing/2014/main" id="{551A5C7F-8AFB-148F-3D94-30EA30B01CE7}"/>
              </a:ext>
            </a:extLst>
          </p:cNvPr>
          <p:cNvSpPr>
            <a:spLocks noGrp="1"/>
          </p:cNvSpPr>
          <p:nvPr>
            <p:ph type="body" sz="quarter" idx="39"/>
          </p:nvPr>
        </p:nvSpPr>
        <p:spPr>
          <a:xfrm>
            <a:off x="1968167" y="3064563"/>
            <a:ext cx="1962388" cy="698238"/>
          </a:xfrm>
        </p:spPr>
        <p:txBody>
          <a:bodyPr/>
          <a:lstStyle/>
          <a:p>
            <a:r>
              <a:t>Segmentos</a:t>
            </a:r>
          </a:p>
        </p:txBody>
      </p:sp>
      <p:sp>
        <p:nvSpPr>
          <p:cNvPr id="6" name="Text Placeholder 5">
            <a:extLst>
              <a:ext uri="{FF2B5EF4-FFF2-40B4-BE49-F238E27FC236}">
                <a16:creationId xmlns:a16="http://schemas.microsoft.com/office/drawing/2014/main" id="{852374C6-2F55-C9D0-4EF9-205107F461FC}"/>
              </a:ext>
            </a:extLst>
          </p:cNvPr>
          <p:cNvSpPr>
            <a:spLocks noGrp="1"/>
          </p:cNvSpPr>
          <p:nvPr>
            <p:ph type="body" sz="quarter" idx="40"/>
          </p:nvPr>
        </p:nvSpPr>
        <p:spPr>
          <a:xfrm>
            <a:off x="1968167" y="3906282"/>
            <a:ext cx="2070433" cy="698238"/>
          </a:xfrm>
        </p:spPr>
        <p:txBody>
          <a:bodyPr/>
          <a:lstStyle/>
          <a:p>
            <a:r>
              <a:t>Producto</a:t>
            </a:r>
          </a:p>
        </p:txBody>
      </p:sp>
      <p:sp>
        <p:nvSpPr>
          <p:cNvPr id="7" name="Text Placeholder 6">
            <a:extLst>
              <a:ext uri="{FF2B5EF4-FFF2-40B4-BE49-F238E27FC236}">
                <a16:creationId xmlns:a16="http://schemas.microsoft.com/office/drawing/2014/main" id="{00D1613B-608D-82F2-CAE5-EC37D1AC033D}"/>
              </a:ext>
            </a:extLst>
          </p:cNvPr>
          <p:cNvSpPr>
            <a:spLocks noGrp="1"/>
          </p:cNvSpPr>
          <p:nvPr>
            <p:ph type="body" sz="quarter" idx="41"/>
          </p:nvPr>
        </p:nvSpPr>
        <p:spPr>
          <a:xfrm>
            <a:off x="5464984" y="1381125"/>
            <a:ext cx="2070433" cy="698238"/>
          </a:xfrm>
        </p:spPr>
        <p:txBody>
          <a:bodyPr/>
          <a:lstStyle/>
          <a:p>
            <a:r>
              <a:t>Eficiencia</a:t>
            </a:r>
          </a:p>
        </p:txBody>
      </p:sp>
      <p:sp>
        <p:nvSpPr>
          <p:cNvPr id="9" name="Text Placeholder 8">
            <a:extLst>
              <a:ext uri="{FF2B5EF4-FFF2-40B4-BE49-F238E27FC236}">
                <a16:creationId xmlns:a16="http://schemas.microsoft.com/office/drawing/2014/main" id="{2EBA98B7-9152-573D-4ADA-3FBBDB79FAC9}"/>
              </a:ext>
            </a:extLst>
          </p:cNvPr>
          <p:cNvSpPr>
            <a:spLocks noGrp="1"/>
          </p:cNvSpPr>
          <p:nvPr>
            <p:ph type="body" sz="quarter" idx="43"/>
          </p:nvPr>
        </p:nvSpPr>
        <p:spPr>
          <a:xfrm>
            <a:off x="1117600" y="1381125"/>
            <a:ext cx="698400" cy="698238"/>
          </a:xfrm>
        </p:spPr>
        <p:txBody>
          <a:bodyPr/>
          <a:lstStyle/>
          <a:p>
            <a:r>
              <a:t>1</a:t>
            </a:r>
          </a:p>
        </p:txBody>
      </p:sp>
      <p:sp>
        <p:nvSpPr>
          <p:cNvPr id="10" name="Text Placeholder 9">
            <a:extLst>
              <a:ext uri="{FF2B5EF4-FFF2-40B4-BE49-F238E27FC236}">
                <a16:creationId xmlns:a16="http://schemas.microsoft.com/office/drawing/2014/main" id="{E4F5D9CF-3BBB-D09D-2F2F-AC9CC0A6F3C6}"/>
              </a:ext>
            </a:extLst>
          </p:cNvPr>
          <p:cNvSpPr>
            <a:spLocks noGrp="1"/>
          </p:cNvSpPr>
          <p:nvPr>
            <p:ph type="body" sz="quarter" idx="44"/>
          </p:nvPr>
        </p:nvSpPr>
        <p:spPr>
          <a:xfrm>
            <a:off x="1117600" y="2222842"/>
            <a:ext cx="698400" cy="698238"/>
          </a:xfrm>
        </p:spPr>
        <p:txBody>
          <a:bodyPr/>
          <a:lstStyle/>
          <a:p>
            <a:r>
              <a:t>2</a:t>
            </a:r>
          </a:p>
        </p:txBody>
      </p:sp>
      <p:sp>
        <p:nvSpPr>
          <p:cNvPr id="11" name="Text Placeholder 10">
            <a:extLst>
              <a:ext uri="{FF2B5EF4-FFF2-40B4-BE49-F238E27FC236}">
                <a16:creationId xmlns:a16="http://schemas.microsoft.com/office/drawing/2014/main" id="{E5D66DCF-CC37-45DD-B3D2-19B65FAC2CA5}"/>
              </a:ext>
            </a:extLst>
          </p:cNvPr>
          <p:cNvSpPr>
            <a:spLocks noGrp="1"/>
          </p:cNvSpPr>
          <p:nvPr>
            <p:ph type="body" sz="quarter" idx="45"/>
          </p:nvPr>
        </p:nvSpPr>
        <p:spPr>
          <a:xfrm>
            <a:off x="1117600" y="3064563"/>
            <a:ext cx="698400" cy="698238"/>
          </a:xfrm>
        </p:spPr>
        <p:txBody>
          <a:bodyPr/>
          <a:lstStyle/>
          <a:p>
            <a:r>
              <a:t>3</a:t>
            </a:r>
          </a:p>
        </p:txBody>
      </p:sp>
      <p:sp>
        <p:nvSpPr>
          <p:cNvPr id="12" name="Text Placeholder 11">
            <a:extLst>
              <a:ext uri="{FF2B5EF4-FFF2-40B4-BE49-F238E27FC236}">
                <a16:creationId xmlns:a16="http://schemas.microsoft.com/office/drawing/2014/main" id="{EF4CDC84-FD39-2101-0757-15801F95ABE3}"/>
              </a:ext>
            </a:extLst>
          </p:cNvPr>
          <p:cNvSpPr>
            <a:spLocks noGrp="1"/>
          </p:cNvSpPr>
          <p:nvPr>
            <p:ph type="body" sz="quarter" idx="46"/>
          </p:nvPr>
        </p:nvSpPr>
        <p:spPr>
          <a:xfrm>
            <a:off x="1117600" y="3906282"/>
            <a:ext cx="698400" cy="698238"/>
          </a:xfrm>
        </p:spPr>
        <p:txBody>
          <a:bodyPr/>
          <a:lstStyle/>
          <a:p>
            <a:r>
              <a:t>4</a:t>
            </a:r>
          </a:p>
        </p:txBody>
      </p:sp>
      <p:sp>
        <p:nvSpPr>
          <p:cNvPr id="13" name="Text Placeholder 12">
            <a:extLst>
              <a:ext uri="{FF2B5EF4-FFF2-40B4-BE49-F238E27FC236}">
                <a16:creationId xmlns:a16="http://schemas.microsoft.com/office/drawing/2014/main" id="{99083ADC-6221-3E7E-CA3E-AC0EAD1D7794}"/>
              </a:ext>
            </a:extLst>
          </p:cNvPr>
          <p:cNvSpPr>
            <a:spLocks noGrp="1"/>
          </p:cNvSpPr>
          <p:nvPr>
            <p:ph type="body" sz="quarter" idx="47"/>
          </p:nvPr>
        </p:nvSpPr>
        <p:spPr>
          <a:xfrm>
            <a:off x="4614417" y="1381125"/>
            <a:ext cx="698400" cy="698238"/>
          </a:xfrm>
        </p:spPr>
        <p:txBody>
          <a:bodyPr/>
          <a:lstStyle/>
          <a:p>
            <a:r>
              <a:t>5</a:t>
            </a:r>
          </a:p>
        </p:txBody>
      </p:sp>
      <p:sp>
        <p:nvSpPr>
          <p:cNvPr id="15" name="Text Placeholder 14">
            <a:extLst>
              <a:ext uri="{FF2B5EF4-FFF2-40B4-BE49-F238E27FC236}">
                <a16:creationId xmlns:a16="http://schemas.microsoft.com/office/drawing/2014/main" id="{D77A2010-3C53-4BF4-E468-358A718ABEE0}"/>
              </a:ext>
            </a:extLst>
          </p:cNvPr>
          <p:cNvSpPr>
            <a:spLocks noGrp="1"/>
          </p:cNvSpPr>
          <p:nvPr>
            <p:ph type="body" sz="quarter" idx="49"/>
          </p:nvPr>
        </p:nvSpPr>
        <p:spPr>
          <a:xfrm>
            <a:off x="5464984" y="2222842"/>
            <a:ext cx="2072021" cy="698238"/>
          </a:xfrm>
        </p:spPr>
        <p:txBody>
          <a:bodyPr/>
          <a:lstStyle/>
          <a:p>
            <a:r>
              <a:t>Servicios</a:t>
            </a:r>
          </a:p>
        </p:txBody>
      </p:sp>
      <p:sp>
        <p:nvSpPr>
          <p:cNvPr id="16" name="Text Placeholder 15">
            <a:extLst>
              <a:ext uri="{FF2B5EF4-FFF2-40B4-BE49-F238E27FC236}">
                <a16:creationId xmlns:a16="http://schemas.microsoft.com/office/drawing/2014/main" id="{E720AA66-6B52-0DCD-0E3F-2F9F4C12F326}"/>
              </a:ext>
            </a:extLst>
          </p:cNvPr>
          <p:cNvSpPr>
            <a:spLocks noGrp="1"/>
          </p:cNvSpPr>
          <p:nvPr>
            <p:ph type="body" sz="quarter" idx="50"/>
          </p:nvPr>
        </p:nvSpPr>
        <p:spPr>
          <a:xfrm>
            <a:off x="5464984" y="3064561"/>
            <a:ext cx="1858330" cy="698238"/>
          </a:xfrm>
        </p:spPr>
        <p:txBody>
          <a:bodyPr/>
          <a:lstStyle/>
          <a:p>
            <a:r>
              <a:t>Patentes</a:t>
            </a:r>
          </a:p>
        </p:txBody>
      </p:sp>
      <p:sp>
        <p:nvSpPr>
          <p:cNvPr id="17" name="Text Placeholder 16">
            <a:extLst>
              <a:ext uri="{FF2B5EF4-FFF2-40B4-BE49-F238E27FC236}">
                <a16:creationId xmlns:a16="http://schemas.microsoft.com/office/drawing/2014/main" id="{0CD9E316-F913-645C-4E01-97214ECF1E17}"/>
              </a:ext>
            </a:extLst>
          </p:cNvPr>
          <p:cNvSpPr>
            <a:spLocks noGrp="1"/>
          </p:cNvSpPr>
          <p:nvPr>
            <p:ph type="body" sz="quarter" idx="51"/>
          </p:nvPr>
        </p:nvSpPr>
        <p:spPr>
          <a:xfrm>
            <a:off x="5464984" y="3906280"/>
            <a:ext cx="2180066" cy="698238"/>
          </a:xfrm>
        </p:spPr>
        <p:txBody>
          <a:bodyPr/>
          <a:lstStyle/>
          <a:p>
            <a:r>
              <a:t>Resumen del producto</a:t>
            </a:r>
          </a:p>
        </p:txBody>
      </p:sp>
      <p:sp>
        <p:nvSpPr>
          <p:cNvPr id="18" name="Text Placeholder 17">
            <a:extLst>
              <a:ext uri="{FF2B5EF4-FFF2-40B4-BE49-F238E27FC236}">
                <a16:creationId xmlns:a16="http://schemas.microsoft.com/office/drawing/2014/main" id="{DA5A0CA2-7CD4-53BC-9572-71664BAC72E0}"/>
              </a:ext>
            </a:extLst>
          </p:cNvPr>
          <p:cNvSpPr>
            <a:spLocks noGrp="1"/>
          </p:cNvSpPr>
          <p:nvPr>
            <p:ph type="body" sz="quarter" idx="52"/>
          </p:nvPr>
        </p:nvSpPr>
        <p:spPr>
          <a:xfrm>
            <a:off x="8961801" y="1381127"/>
            <a:ext cx="2983145" cy="698238"/>
          </a:xfrm>
        </p:spPr>
        <p:txBody>
          <a:bodyPr/>
          <a:lstStyle/>
          <a:p>
            <a:r>
              <a:t>Especificaciones técnicas</a:t>
            </a:r>
          </a:p>
        </p:txBody>
      </p:sp>
      <p:sp>
        <p:nvSpPr>
          <p:cNvPr id="19" name="Text Placeholder 18">
            <a:extLst>
              <a:ext uri="{FF2B5EF4-FFF2-40B4-BE49-F238E27FC236}">
                <a16:creationId xmlns:a16="http://schemas.microsoft.com/office/drawing/2014/main" id="{EA5932F4-F9F4-6A20-E706-D1584F2B527C}"/>
              </a:ext>
            </a:extLst>
          </p:cNvPr>
          <p:cNvSpPr>
            <a:spLocks noGrp="1"/>
          </p:cNvSpPr>
          <p:nvPr>
            <p:ph type="body" sz="quarter" idx="53"/>
          </p:nvPr>
        </p:nvSpPr>
        <p:spPr>
          <a:xfrm>
            <a:off x="8961801" y="2222846"/>
            <a:ext cx="2072021" cy="698238"/>
          </a:xfrm>
        </p:spPr>
        <p:txBody>
          <a:bodyPr/>
          <a:lstStyle/>
          <a:p>
            <a:r>
              <a:t>PAC</a:t>
            </a:r>
          </a:p>
        </p:txBody>
      </p:sp>
      <p:sp>
        <p:nvSpPr>
          <p:cNvPr id="21" name="Text Placeholder 20">
            <a:extLst>
              <a:ext uri="{FF2B5EF4-FFF2-40B4-BE49-F238E27FC236}">
                <a16:creationId xmlns:a16="http://schemas.microsoft.com/office/drawing/2014/main" id="{5EA2BF0C-2477-BF12-615C-C1CEB774B32F}"/>
              </a:ext>
            </a:extLst>
          </p:cNvPr>
          <p:cNvSpPr>
            <a:spLocks noGrp="1"/>
          </p:cNvSpPr>
          <p:nvPr>
            <p:ph type="body" sz="quarter" idx="55"/>
          </p:nvPr>
        </p:nvSpPr>
        <p:spPr>
          <a:xfrm>
            <a:off x="4614417" y="2222842"/>
            <a:ext cx="698400" cy="698238"/>
          </a:xfrm>
        </p:spPr>
        <p:txBody>
          <a:bodyPr/>
          <a:lstStyle/>
          <a:p>
            <a:r>
              <a:rPr lang="es-ES" dirty="0"/>
              <a:t>6</a:t>
            </a:r>
            <a:endParaRPr dirty="0"/>
          </a:p>
        </p:txBody>
      </p:sp>
      <p:sp>
        <p:nvSpPr>
          <p:cNvPr id="22" name="Text Placeholder 21">
            <a:extLst>
              <a:ext uri="{FF2B5EF4-FFF2-40B4-BE49-F238E27FC236}">
                <a16:creationId xmlns:a16="http://schemas.microsoft.com/office/drawing/2014/main" id="{2E21AD07-667C-A9FF-BFA5-17CA00ABC9CF}"/>
              </a:ext>
            </a:extLst>
          </p:cNvPr>
          <p:cNvSpPr>
            <a:spLocks noGrp="1"/>
          </p:cNvSpPr>
          <p:nvPr>
            <p:ph type="body" sz="quarter" idx="56"/>
          </p:nvPr>
        </p:nvSpPr>
        <p:spPr>
          <a:xfrm>
            <a:off x="4614417" y="3064561"/>
            <a:ext cx="698400" cy="698238"/>
          </a:xfrm>
        </p:spPr>
        <p:txBody>
          <a:bodyPr/>
          <a:lstStyle/>
          <a:p>
            <a:r>
              <a:rPr lang="es-ES" dirty="0"/>
              <a:t>7</a:t>
            </a:r>
            <a:endParaRPr dirty="0"/>
          </a:p>
        </p:txBody>
      </p:sp>
      <p:sp>
        <p:nvSpPr>
          <p:cNvPr id="23" name="Text Placeholder 22">
            <a:extLst>
              <a:ext uri="{FF2B5EF4-FFF2-40B4-BE49-F238E27FC236}">
                <a16:creationId xmlns:a16="http://schemas.microsoft.com/office/drawing/2014/main" id="{E9642470-8D10-F8E5-0C3E-D5272C29C065}"/>
              </a:ext>
            </a:extLst>
          </p:cNvPr>
          <p:cNvSpPr>
            <a:spLocks noGrp="1"/>
          </p:cNvSpPr>
          <p:nvPr>
            <p:ph type="body" sz="quarter" idx="57"/>
          </p:nvPr>
        </p:nvSpPr>
        <p:spPr>
          <a:xfrm>
            <a:off x="4614417" y="3906280"/>
            <a:ext cx="698400" cy="698238"/>
          </a:xfrm>
        </p:spPr>
        <p:txBody>
          <a:bodyPr/>
          <a:lstStyle/>
          <a:p>
            <a:r>
              <a:rPr lang="es-ES" dirty="0"/>
              <a:t>8</a:t>
            </a:r>
            <a:endParaRPr dirty="0"/>
          </a:p>
        </p:txBody>
      </p:sp>
      <p:sp>
        <p:nvSpPr>
          <p:cNvPr id="24" name="Text Placeholder 23">
            <a:extLst>
              <a:ext uri="{FF2B5EF4-FFF2-40B4-BE49-F238E27FC236}">
                <a16:creationId xmlns:a16="http://schemas.microsoft.com/office/drawing/2014/main" id="{F010CE36-E391-8088-08D9-F0817F2582E6}"/>
              </a:ext>
            </a:extLst>
          </p:cNvPr>
          <p:cNvSpPr>
            <a:spLocks noGrp="1"/>
          </p:cNvSpPr>
          <p:nvPr>
            <p:ph type="body" sz="quarter" idx="58"/>
          </p:nvPr>
        </p:nvSpPr>
        <p:spPr>
          <a:xfrm>
            <a:off x="8111234" y="1381125"/>
            <a:ext cx="698400" cy="698238"/>
          </a:xfrm>
        </p:spPr>
        <p:txBody>
          <a:bodyPr/>
          <a:lstStyle/>
          <a:p>
            <a:r>
              <a:rPr lang="es-ES" dirty="0"/>
              <a:t>9</a:t>
            </a:r>
            <a:endParaRPr dirty="0"/>
          </a:p>
        </p:txBody>
      </p:sp>
      <p:sp>
        <p:nvSpPr>
          <p:cNvPr id="25" name="Text Placeholder 24">
            <a:extLst>
              <a:ext uri="{FF2B5EF4-FFF2-40B4-BE49-F238E27FC236}">
                <a16:creationId xmlns:a16="http://schemas.microsoft.com/office/drawing/2014/main" id="{FDFF7A7A-BBEE-499E-903F-2B1C03AAB839}"/>
              </a:ext>
            </a:extLst>
          </p:cNvPr>
          <p:cNvSpPr>
            <a:spLocks noGrp="1"/>
          </p:cNvSpPr>
          <p:nvPr>
            <p:ph type="body" sz="quarter" idx="59"/>
          </p:nvPr>
        </p:nvSpPr>
        <p:spPr>
          <a:xfrm>
            <a:off x="8111234" y="2222846"/>
            <a:ext cx="698400" cy="698238"/>
          </a:xfrm>
        </p:spPr>
        <p:txBody>
          <a:bodyPr/>
          <a:lstStyle/>
          <a:p>
            <a:r>
              <a:rPr lang="es-ES" dirty="0"/>
              <a:t>10</a:t>
            </a:r>
            <a:endParaRPr dirty="0"/>
          </a:p>
        </p:txBody>
      </p:sp>
      <p:sp>
        <p:nvSpPr>
          <p:cNvPr id="27" name="Footer Placeholder 26">
            <a:extLst>
              <a:ext uri="{FF2B5EF4-FFF2-40B4-BE49-F238E27FC236}">
                <a16:creationId xmlns:a16="http://schemas.microsoft.com/office/drawing/2014/main" id="{0A2AEE91-26D6-9DBC-5B9E-4CFD9430D045}"/>
              </a:ext>
            </a:extLst>
          </p:cNvPr>
          <p:cNvSpPr>
            <a:spLocks noGrp="1"/>
          </p:cNvSpPr>
          <p:nvPr>
            <p:ph type="ftr" sz="quarter" idx="62"/>
          </p:nvPr>
        </p:nvSpPr>
        <p:spPr/>
        <p:txBody>
          <a:bodyPr/>
          <a:lstStyle/>
          <a:p>
            <a:pPr algn="l"/>
            <a:r>
              <a:t>INFORMACIÓN CONFIDENCIAL DE LA EMPRESA</a:t>
            </a:r>
          </a:p>
        </p:txBody>
      </p:sp>
      <p:sp>
        <p:nvSpPr>
          <p:cNvPr id="28" name="Slide Number Placeholder 27">
            <a:extLst>
              <a:ext uri="{FF2B5EF4-FFF2-40B4-BE49-F238E27FC236}">
                <a16:creationId xmlns:a16="http://schemas.microsoft.com/office/drawing/2014/main" id="{E34461B0-03E5-9A29-4BF6-E2091B96E316}"/>
              </a:ext>
            </a:extLst>
          </p:cNvPr>
          <p:cNvSpPr>
            <a:spLocks noGrp="1"/>
          </p:cNvSpPr>
          <p:nvPr>
            <p:ph type="sldNum" sz="quarter" idx="63"/>
          </p:nvPr>
        </p:nvSpPr>
        <p:spPr/>
        <p:txBody>
          <a:bodyPr/>
          <a:lstStyle/>
          <a:p>
            <a:fld id="{6C385236-B7BA-4938-9EA6-6DEC8CA653D7}" type="slidenum">
              <a:rPr lang="en-GB" noProof="0" smtClean="0"/>
              <a:pPr/>
              <a:t>2</a:t>
            </a:fld>
            <a:endParaRPr lang="en-GB" noProof="0" dirty="0"/>
          </a:p>
        </p:txBody>
      </p:sp>
    </p:spTree>
    <p:extLst>
      <p:ext uri="{BB962C8B-B14F-4D97-AF65-F5344CB8AC3E}">
        <p14:creationId xmlns:p14="http://schemas.microsoft.com/office/powerpoint/2010/main" val="19406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a:extLst>
              <a:ext uri="{FF2B5EF4-FFF2-40B4-BE49-F238E27FC236}">
                <a16:creationId xmlns:a16="http://schemas.microsoft.com/office/drawing/2014/main" id="{6E8B1693-1911-4AF6-FE1C-A62F372BEC9F}"/>
              </a:ext>
            </a:extLst>
          </p:cNvPr>
          <p:cNvSpPr>
            <a:spLocks noGrp="1"/>
          </p:cNvSpPr>
          <p:nvPr>
            <p:ph sz="quarter" idx="18"/>
          </p:nvPr>
        </p:nvSpPr>
        <p:spPr>
          <a:xfrm>
            <a:off x="475521" y="1520454"/>
            <a:ext cx="3559175" cy="4610837"/>
          </a:xfrm>
        </p:spPr>
        <p:txBody>
          <a:bodyPr/>
          <a:lstStyle/>
          <a:p>
            <a:pPr marL="0" indent="0">
              <a:buNone/>
            </a:pPr>
            <a:r>
              <a:rPr dirty="0" err="1">
                <a:latin typeface="+mj-lt"/>
              </a:rPr>
              <a:t>Utilice</a:t>
            </a:r>
            <a:r>
              <a:rPr dirty="0">
                <a:latin typeface="+mj-lt"/>
              </a:rPr>
              <a:t> la </a:t>
            </a:r>
            <a:r>
              <a:rPr dirty="0" err="1">
                <a:latin typeface="+mj-lt"/>
              </a:rPr>
              <a:t>máquina</a:t>
            </a:r>
            <a:r>
              <a:rPr dirty="0">
                <a:latin typeface="+mj-lt"/>
              </a:rPr>
              <a:t> </a:t>
            </a:r>
            <a:r>
              <a:rPr dirty="0" err="1">
                <a:latin typeface="+mj-lt"/>
              </a:rPr>
              <a:t>en</a:t>
            </a:r>
            <a:r>
              <a:rPr dirty="0">
                <a:latin typeface="+mj-lt"/>
              </a:rPr>
              <a:t> </a:t>
            </a:r>
            <a:r>
              <a:rPr dirty="0" err="1">
                <a:latin typeface="+mj-lt"/>
              </a:rPr>
              <a:t>su</a:t>
            </a:r>
            <a:r>
              <a:rPr dirty="0">
                <a:latin typeface="+mj-lt"/>
              </a:rPr>
              <a:t> </a:t>
            </a:r>
            <a:r>
              <a:rPr dirty="0" err="1">
                <a:latin typeface="+mj-lt"/>
              </a:rPr>
              <a:t>configuración</a:t>
            </a:r>
            <a:r>
              <a:rPr dirty="0">
                <a:latin typeface="+mj-lt"/>
              </a:rPr>
              <a:t> original</a:t>
            </a:r>
          </a:p>
          <a:p>
            <a:pPr marL="0" indent="0">
              <a:buNone/>
            </a:pPr>
            <a:endParaRPr lang="en-GB" noProof="0" dirty="0"/>
          </a:p>
          <a:p>
            <a:pPr marL="0" indent="0">
              <a:buNone/>
            </a:pPr>
            <a:r>
              <a:rPr dirty="0"/>
              <a:t>Las </a:t>
            </a:r>
            <a:r>
              <a:rPr dirty="0" err="1"/>
              <a:t>máquinas</a:t>
            </a:r>
            <a:r>
              <a:rPr dirty="0"/>
              <a:t> Advanced </a:t>
            </a:r>
            <a:r>
              <a:rPr dirty="0" err="1"/>
              <a:t>cuentan</a:t>
            </a:r>
            <a:r>
              <a:rPr dirty="0"/>
              <a:t> con </a:t>
            </a:r>
            <a:r>
              <a:rPr dirty="0" err="1"/>
              <a:t>cinco</a:t>
            </a:r>
            <a:r>
              <a:rPr dirty="0"/>
              <a:t> </a:t>
            </a:r>
            <a:r>
              <a:rPr dirty="0" err="1"/>
              <a:t>ajustes</a:t>
            </a:r>
            <a:r>
              <a:rPr dirty="0"/>
              <a:t> </a:t>
            </a:r>
            <a:r>
              <a:rPr dirty="0" err="1"/>
              <a:t>preestablecidos</a:t>
            </a:r>
            <a:r>
              <a:rPr dirty="0"/>
              <a:t> </a:t>
            </a:r>
            <a:r>
              <a:rPr dirty="0" err="1"/>
              <a:t>que</a:t>
            </a:r>
            <a:r>
              <a:rPr dirty="0"/>
              <a:t> </a:t>
            </a:r>
            <a:r>
              <a:rPr dirty="0" err="1"/>
              <a:t>cubren</a:t>
            </a:r>
            <a:r>
              <a:rPr dirty="0"/>
              <a:t> la </a:t>
            </a:r>
            <a:r>
              <a:rPr dirty="0" err="1"/>
              <a:t>mayoría</a:t>
            </a:r>
            <a:r>
              <a:rPr dirty="0"/>
              <a:t> de las </a:t>
            </a:r>
            <a:r>
              <a:rPr dirty="0" err="1"/>
              <a:t>tareas</a:t>
            </a:r>
            <a:r>
              <a:rPr dirty="0"/>
              <a:t> de </a:t>
            </a:r>
            <a:r>
              <a:rPr dirty="0" err="1"/>
              <a:t>limpieza</a:t>
            </a:r>
            <a:r>
              <a:rPr dirty="0"/>
              <a:t>.</a:t>
            </a:r>
          </a:p>
          <a:p>
            <a:pPr marL="0" indent="0">
              <a:buNone/>
            </a:pPr>
            <a:endParaRPr lang="en-GB" noProof="0" dirty="0"/>
          </a:p>
          <a:p>
            <a:pPr marL="0" indent="0">
              <a:buNone/>
            </a:pPr>
            <a:r>
              <a:rPr dirty="0" err="1"/>
              <a:t>Encienda</a:t>
            </a:r>
            <a:r>
              <a:rPr dirty="0"/>
              <a:t> la </a:t>
            </a:r>
            <a:r>
              <a:rPr dirty="0" err="1"/>
              <a:t>máquina</a:t>
            </a:r>
            <a:r>
              <a:rPr dirty="0"/>
              <a:t> y </a:t>
            </a:r>
            <a:r>
              <a:rPr dirty="0" err="1"/>
              <a:t>seleccione</a:t>
            </a:r>
            <a:r>
              <a:rPr dirty="0"/>
              <a:t> </a:t>
            </a:r>
            <a:r>
              <a:rPr dirty="0" err="1"/>
              <a:t>el</a:t>
            </a:r>
            <a:r>
              <a:rPr dirty="0"/>
              <a:t> modo de </a:t>
            </a:r>
            <a:r>
              <a:rPr dirty="0" err="1"/>
              <a:t>limpieza</a:t>
            </a:r>
            <a:r>
              <a:rPr dirty="0"/>
              <a:t> </a:t>
            </a:r>
            <a:r>
              <a:rPr dirty="0" err="1"/>
              <a:t>deseado</a:t>
            </a:r>
            <a:r>
              <a:rPr dirty="0"/>
              <a:t>. </a:t>
            </a:r>
            <a:r>
              <a:rPr lang="en-GB" dirty="0"/>
              <a:t>Memoria </a:t>
            </a:r>
            <a:r>
              <a:rPr lang="en-GB" dirty="0" err="1"/>
              <a:t>último</a:t>
            </a:r>
            <a:r>
              <a:rPr lang="en-GB" dirty="0"/>
              <a:t> </a:t>
            </a:r>
            <a:r>
              <a:rPr lang="en-GB" dirty="0" err="1"/>
              <a:t>ajuste</a:t>
            </a:r>
            <a:r>
              <a:rPr dirty="0"/>
              <a:t>.</a:t>
            </a:r>
            <a:endParaRPr lang="en-GB" dirty="0"/>
          </a:p>
          <a:p>
            <a:pPr marL="0" indent="0">
              <a:buNone/>
            </a:pPr>
            <a:endParaRPr lang="en-GB" noProof="0" dirty="0"/>
          </a:p>
          <a:p>
            <a:pPr marL="0" indent="0">
              <a:buNone/>
            </a:pPr>
            <a:r>
              <a:rPr i="1" dirty="0"/>
              <a:t>¿</a:t>
            </a:r>
            <a:r>
              <a:rPr i="1" dirty="0" err="1"/>
              <a:t>Necesita</a:t>
            </a:r>
            <a:r>
              <a:rPr i="1" dirty="0"/>
              <a:t> </a:t>
            </a:r>
            <a:r>
              <a:rPr i="1" dirty="0" err="1"/>
              <a:t>hacer</a:t>
            </a:r>
            <a:r>
              <a:rPr i="1" dirty="0"/>
              <a:t> un </a:t>
            </a:r>
            <a:r>
              <a:rPr i="1" dirty="0" err="1"/>
              <a:t>pequeño</a:t>
            </a:r>
            <a:r>
              <a:rPr i="1" dirty="0"/>
              <a:t> </a:t>
            </a:r>
            <a:r>
              <a:rPr i="1" dirty="0" err="1"/>
              <a:t>ajuste</a:t>
            </a:r>
            <a:r>
              <a:rPr i="1" dirty="0"/>
              <a:t> </a:t>
            </a:r>
            <a:r>
              <a:rPr i="1" dirty="0" err="1"/>
              <a:t>en</a:t>
            </a:r>
            <a:r>
              <a:rPr i="1" dirty="0"/>
              <a:t> la </a:t>
            </a:r>
            <a:r>
              <a:rPr i="1" dirty="0" err="1"/>
              <a:t>configuración</a:t>
            </a:r>
            <a:r>
              <a:rPr i="1" dirty="0"/>
              <a:t>?</a:t>
            </a:r>
          </a:p>
          <a:p>
            <a:pPr marL="0" indent="0">
              <a:buNone/>
            </a:pPr>
            <a:r>
              <a:rPr dirty="0"/>
              <a:t>Los </a:t>
            </a:r>
            <a:r>
              <a:rPr dirty="0" err="1"/>
              <a:t>ajustes</a:t>
            </a:r>
            <a:r>
              <a:rPr dirty="0"/>
              <a:t> </a:t>
            </a:r>
            <a:r>
              <a:rPr dirty="0" err="1"/>
              <a:t>preestablecidos</a:t>
            </a:r>
            <a:r>
              <a:rPr dirty="0"/>
              <a:t> </a:t>
            </a:r>
            <a:r>
              <a:rPr dirty="0" err="1"/>
              <a:t>pueden</a:t>
            </a:r>
            <a:r>
              <a:rPr dirty="0"/>
              <a:t> </a:t>
            </a:r>
            <a:r>
              <a:rPr dirty="0" err="1"/>
              <a:t>modificarse</a:t>
            </a:r>
            <a:r>
              <a:rPr dirty="0"/>
              <a:t> </a:t>
            </a:r>
            <a:r>
              <a:rPr dirty="0" err="1"/>
              <a:t>fácilmente</a:t>
            </a:r>
            <a:r>
              <a:rPr dirty="0"/>
              <a:t>: </a:t>
            </a:r>
            <a:r>
              <a:rPr dirty="0" err="1"/>
              <a:t>mantenga</a:t>
            </a:r>
            <a:r>
              <a:rPr dirty="0"/>
              <a:t> </a:t>
            </a:r>
            <a:r>
              <a:rPr dirty="0" err="1"/>
              <a:t>pulsado</a:t>
            </a:r>
            <a:r>
              <a:rPr dirty="0"/>
              <a:t> </a:t>
            </a:r>
            <a:r>
              <a:rPr dirty="0" err="1"/>
              <a:t>el</a:t>
            </a:r>
            <a:r>
              <a:rPr dirty="0"/>
              <a:t> </a:t>
            </a:r>
            <a:r>
              <a:rPr dirty="0" err="1"/>
              <a:t>botón</a:t>
            </a:r>
            <a:r>
              <a:rPr dirty="0"/>
              <a:t> del dial </a:t>
            </a:r>
            <a:r>
              <a:rPr dirty="0" err="1"/>
              <a:t>durante</a:t>
            </a:r>
            <a:r>
              <a:rPr dirty="0"/>
              <a:t> 2 </a:t>
            </a:r>
            <a:r>
              <a:rPr dirty="0" err="1"/>
              <a:t>segundos</a:t>
            </a:r>
            <a:r>
              <a:rPr dirty="0"/>
              <a:t> y </a:t>
            </a:r>
            <a:r>
              <a:rPr dirty="0" err="1"/>
              <a:t>ajuste</a:t>
            </a:r>
            <a:r>
              <a:rPr dirty="0"/>
              <a:t> la </a:t>
            </a:r>
            <a:r>
              <a:rPr dirty="0" err="1"/>
              <a:t>temperatura</a:t>
            </a:r>
            <a:r>
              <a:rPr dirty="0"/>
              <a:t> y la </a:t>
            </a:r>
            <a:r>
              <a:rPr dirty="0" err="1"/>
              <a:t>dosificación</a:t>
            </a:r>
            <a:r>
              <a:rPr dirty="0"/>
              <a:t> de </a:t>
            </a:r>
            <a:r>
              <a:rPr dirty="0" err="1"/>
              <a:t>detergente</a:t>
            </a:r>
            <a:r>
              <a:rPr dirty="0"/>
              <a:t>.</a:t>
            </a:r>
          </a:p>
        </p:txBody>
      </p:sp>
      <p:sp>
        <p:nvSpPr>
          <p:cNvPr id="8" name="Pladsholder til indhold 7">
            <a:extLst>
              <a:ext uri="{FF2B5EF4-FFF2-40B4-BE49-F238E27FC236}">
                <a16:creationId xmlns:a16="http://schemas.microsoft.com/office/drawing/2014/main" id="{C741C377-F403-80B8-ADAC-88A8CD3C9FDF}"/>
              </a:ext>
            </a:extLst>
          </p:cNvPr>
          <p:cNvSpPr>
            <a:spLocks noGrp="1"/>
          </p:cNvSpPr>
          <p:nvPr>
            <p:ph sz="quarter" idx="21"/>
          </p:nvPr>
        </p:nvSpPr>
        <p:spPr/>
        <p:txBody>
          <a:bodyPr/>
          <a:lstStyle/>
          <a:p>
            <a:pPr marL="0" indent="0">
              <a:buNone/>
            </a:pPr>
            <a:r>
              <a:rPr dirty="0" err="1">
                <a:latin typeface="+mj-lt"/>
              </a:rPr>
              <a:t>Personaliza</a:t>
            </a:r>
            <a:r>
              <a:rPr dirty="0">
                <a:latin typeface="+mj-lt"/>
              </a:rPr>
              <a:t> </a:t>
            </a:r>
            <a:r>
              <a:rPr dirty="0" err="1">
                <a:latin typeface="+mj-lt"/>
              </a:rPr>
              <a:t>ajustes</a:t>
            </a:r>
            <a:r>
              <a:rPr dirty="0">
                <a:latin typeface="+mj-lt"/>
              </a:rPr>
              <a:t> </a:t>
            </a:r>
            <a:r>
              <a:rPr dirty="0" err="1">
                <a:latin typeface="+mj-lt"/>
              </a:rPr>
              <a:t>preestablecidos</a:t>
            </a:r>
            <a:endParaRPr dirty="0">
              <a:latin typeface="+mj-lt"/>
            </a:endParaRPr>
          </a:p>
          <a:p>
            <a:pPr marL="0" indent="0">
              <a:buNone/>
            </a:pPr>
            <a:endParaRPr lang="en-GB" noProof="0" dirty="0"/>
          </a:p>
          <a:p>
            <a:pPr marL="0" indent="0">
              <a:buNone/>
            </a:pPr>
            <a:r>
              <a:rPr dirty="0"/>
              <a:t>Las </a:t>
            </a:r>
            <a:r>
              <a:rPr dirty="0" err="1"/>
              <a:t>máquinas</a:t>
            </a:r>
            <a:r>
              <a:rPr dirty="0"/>
              <a:t> de la </a:t>
            </a:r>
            <a:r>
              <a:rPr lang="en-GB" dirty="0"/>
              <a:t>“advanced”</a:t>
            </a:r>
            <a:r>
              <a:rPr dirty="0"/>
              <a:t> </a:t>
            </a:r>
            <a:r>
              <a:rPr dirty="0" err="1"/>
              <a:t>pueden</a:t>
            </a:r>
            <a:r>
              <a:rPr dirty="0"/>
              <a:t> </a:t>
            </a:r>
            <a:r>
              <a:rPr lang="en-GB" dirty="0" err="1"/>
              <a:t>ajustarse</a:t>
            </a:r>
            <a:r>
              <a:rPr dirty="0"/>
              <a:t> para </a:t>
            </a:r>
            <a:r>
              <a:rPr dirty="0" err="1"/>
              <a:t>adaptarse</a:t>
            </a:r>
            <a:r>
              <a:rPr dirty="0"/>
              <a:t> a las </a:t>
            </a:r>
            <a:r>
              <a:rPr dirty="0" err="1"/>
              <a:t>necesidades</a:t>
            </a:r>
            <a:r>
              <a:rPr dirty="0"/>
              <a:t> y </a:t>
            </a:r>
            <a:r>
              <a:rPr dirty="0" err="1"/>
              <a:t>preferencias</a:t>
            </a:r>
            <a:r>
              <a:rPr dirty="0"/>
              <a:t> de </a:t>
            </a:r>
            <a:r>
              <a:rPr dirty="0" err="1"/>
              <a:t>cada</a:t>
            </a:r>
            <a:r>
              <a:rPr dirty="0"/>
              <a:t> </a:t>
            </a:r>
            <a:r>
              <a:rPr dirty="0" err="1"/>
              <a:t>cliente</a:t>
            </a:r>
            <a:r>
              <a:rPr dirty="0"/>
              <a:t>.</a:t>
            </a:r>
          </a:p>
          <a:p>
            <a:pPr marL="0" indent="0">
              <a:buNone/>
            </a:pPr>
            <a:endParaRPr lang="en-GB" noProof="0" dirty="0"/>
          </a:p>
          <a:p>
            <a:pPr marL="0" indent="0">
              <a:buNone/>
            </a:pPr>
            <a:r>
              <a:rPr dirty="0"/>
              <a:t>En </a:t>
            </a:r>
            <a:r>
              <a:rPr dirty="0" err="1"/>
              <a:t>el</a:t>
            </a:r>
            <a:r>
              <a:rPr dirty="0"/>
              <a:t> </a:t>
            </a:r>
            <a:r>
              <a:rPr dirty="0" err="1"/>
              <a:t>menú</a:t>
            </a:r>
            <a:r>
              <a:rPr dirty="0"/>
              <a:t> de </a:t>
            </a:r>
            <a:r>
              <a:rPr dirty="0" err="1"/>
              <a:t>preajustes</a:t>
            </a:r>
            <a:r>
              <a:rPr dirty="0"/>
              <a:t>, </a:t>
            </a:r>
            <a:r>
              <a:rPr dirty="0" err="1"/>
              <a:t>los</a:t>
            </a:r>
            <a:r>
              <a:rPr dirty="0"/>
              <a:t> </a:t>
            </a:r>
            <a:r>
              <a:rPr dirty="0" err="1"/>
              <a:t>preajustes</a:t>
            </a:r>
            <a:r>
              <a:rPr dirty="0"/>
              <a:t> de </a:t>
            </a:r>
            <a:r>
              <a:rPr dirty="0" err="1"/>
              <a:t>fábrica</a:t>
            </a:r>
            <a:r>
              <a:rPr dirty="0"/>
              <a:t> </a:t>
            </a:r>
            <a:r>
              <a:rPr dirty="0" err="1"/>
              <a:t>pueden</a:t>
            </a:r>
            <a:r>
              <a:rPr dirty="0"/>
              <a:t> </a:t>
            </a:r>
            <a:r>
              <a:rPr dirty="0" err="1"/>
              <a:t>ocultarse</a:t>
            </a:r>
            <a:r>
              <a:rPr dirty="0"/>
              <a:t> o </a:t>
            </a:r>
            <a:r>
              <a:rPr dirty="0" err="1"/>
              <a:t>personalizarse</a:t>
            </a:r>
            <a:r>
              <a:rPr dirty="0"/>
              <a:t>.</a:t>
            </a:r>
            <a:endParaRPr lang="en-GB" dirty="0"/>
          </a:p>
          <a:p>
            <a:pPr marL="0" indent="0">
              <a:buNone/>
            </a:pPr>
            <a:endParaRPr dirty="0"/>
          </a:p>
          <a:p>
            <a:pPr marL="0" indent="0">
              <a:buNone/>
            </a:pPr>
            <a:r>
              <a:rPr dirty="0"/>
              <a:t>También es </a:t>
            </a:r>
            <a:r>
              <a:rPr dirty="0" err="1"/>
              <a:t>posible</a:t>
            </a:r>
            <a:r>
              <a:rPr dirty="0"/>
              <a:t> </a:t>
            </a:r>
            <a:r>
              <a:rPr dirty="0" err="1"/>
              <a:t>crear</a:t>
            </a:r>
            <a:r>
              <a:rPr dirty="0"/>
              <a:t> </a:t>
            </a:r>
            <a:r>
              <a:rPr dirty="0" err="1"/>
              <a:t>nuevos</a:t>
            </a:r>
            <a:r>
              <a:rPr dirty="0"/>
              <a:t> </a:t>
            </a:r>
            <a:r>
              <a:rPr dirty="0" err="1"/>
              <a:t>preajustes</a:t>
            </a:r>
            <a:r>
              <a:rPr dirty="0"/>
              <a:t>, </a:t>
            </a:r>
            <a:r>
              <a:rPr dirty="0" err="1"/>
              <a:t>asignando</a:t>
            </a:r>
            <a:r>
              <a:rPr dirty="0"/>
              <a:t> un </a:t>
            </a:r>
            <a:r>
              <a:rPr dirty="0" err="1"/>
              <a:t>nombre</a:t>
            </a:r>
            <a:r>
              <a:rPr dirty="0"/>
              <a:t> </a:t>
            </a:r>
            <a:r>
              <a:rPr dirty="0" err="1"/>
              <a:t>específico</a:t>
            </a:r>
            <a:r>
              <a:rPr dirty="0"/>
              <a:t> a </a:t>
            </a:r>
            <a:r>
              <a:rPr dirty="0" err="1"/>
              <a:t>cada</a:t>
            </a:r>
            <a:r>
              <a:rPr dirty="0"/>
              <a:t> uno.</a:t>
            </a:r>
          </a:p>
          <a:p>
            <a:pPr marL="0" indent="0">
              <a:buNone/>
            </a:pPr>
            <a:endParaRPr lang="en-GB" noProof="0" dirty="0"/>
          </a:p>
          <a:p>
            <a:pPr marL="0" indent="0">
              <a:buNone/>
            </a:pPr>
            <a:r>
              <a:rPr dirty="0"/>
              <a:t>Los </a:t>
            </a:r>
            <a:r>
              <a:rPr dirty="0" err="1"/>
              <a:t>usuarios</a:t>
            </a:r>
            <a:r>
              <a:rPr dirty="0"/>
              <a:t> </a:t>
            </a:r>
            <a:r>
              <a:rPr dirty="0" err="1"/>
              <a:t>pueden</a:t>
            </a:r>
            <a:r>
              <a:rPr dirty="0"/>
              <a:t> </a:t>
            </a:r>
            <a:r>
              <a:rPr dirty="0" err="1"/>
              <a:t>crear</a:t>
            </a:r>
            <a:r>
              <a:rPr dirty="0"/>
              <a:t> un total de 20 </a:t>
            </a:r>
            <a:r>
              <a:rPr dirty="0" err="1"/>
              <a:t>configuraciones</a:t>
            </a:r>
            <a:r>
              <a:rPr dirty="0"/>
              <a:t> </a:t>
            </a:r>
            <a:r>
              <a:rPr dirty="0" err="1"/>
              <a:t>preestablecidas</a:t>
            </a:r>
            <a:r>
              <a:rPr dirty="0"/>
              <a:t>.</a:t>
            </a:r>
          </a:p>
        </p:txBody>
      </p:sp>
      <p:sp>
        <p:nvSpPr>
          <p:cNvPr id="9" name="Pladsholder til indhold 8">
            <a:extLst>
              <a:ext uri="{FF2B5EF4-FFF2-40B4-BE49-F238E27FC236}">
                <a16:creationId xmlns:a16="http://schemas.microsoft.com/office/drawing/2014/main" id="{AEACD878-1EC7-6B04-2156-EE2125D11F4C}"/>
              </a:ext>
            </a:extLst>
          </p:cNvPr>
          <p:cNvSpPr>
            <a:spLocks noGrp="1"/>
          </p:cNvSpPr>
          <p:nvPr>
            <p:ph sz="quarter" idx="22"/>
          </p:nvPr>
        </p:nvSpPr>
        <p:spPr/>
        <p:txBody>
          <a:bodyPr/>
          <a:lstStyle/>
          <a:p>
            <a:pPr marL="0" indent="0">
              <a:buNone/>
            </a:pPr>
            <a:r>
              <a:rPr>
                <a:latin typeface="+mj-lt"/>
              </a:rPr>
              <a:t>Bloquee la máquina en ajustes predefinidos</a:t>
            </a:r>
          </a:p>
          <a:p>
            <a:pPr marL="0" indent="0">
              <a:buNone/>
            </a:pPr>
            <a:endParaRPr lang="en-GB" noProof="0" dirty="0">
              <a:latin typeface="+mj-lt"/>
            </a:endParaRPr>
          </a:p>
          <a:p>
            <a:pPr marL="0" indent="0">
              <a:buNone/>
            </a:pPr>
            <a:r>
              <a:t>Los ajustes preestablecidos de la máquina pueden bloquearse mediante un código PIN de 4 dígitos elegido por el cliente.</a:t>
            </a:r>
          </a:p>
          <a:p>
            <a:pPr marL="0" indent="0">
              <a:buNone/>
            </a:pPr>
            <a:endParaRPr lang="en-GB" noProof="0" dirty="0"/>
          </a:p>
          <a:p>
            <a:pPr marL="0" indent="0">
              <a:buNone/>
            </a:pPr>
            <a:r>
              <a:t>Asegure resultados consistentes y minimice el uso excesivo de diésel y detergente con el bloqueo de ajustes preestablecidos activado.</a:t>
            </a:r>
          </a:p>
        </p:txBody>
      </p:sp>
      <p:sp>
        <p:nvSpPr>
          <p:cNvPr id="5" name="Pladsholder til sidefod 4">
            <a:extLst>
              <a:ext uri="{FF2B5EF4-FFF2-40B4-BE49-F238E27FC236}">
                <a16:creationId xmlns:a16="http://schemas.microsoft.com/office/drawing/2014/main" id="{2E716AF9-A867-8550-0EEE-C6D9E665DDB6}"/>
              </a:ext>
            </a:extLst>
          </p:cNvPr>
          <p:cNvSpPr>
            <a:spLocks noGrp="1"/>
          </p:cNvSpPr>
          <p:nvPr>
            <p:ph type="ftr" sz="quarter" idx="24"/>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A1791540-F311-93B2-8FDF-D6B1684D30FE}"/>
              </a:ext>
            </a:extLst>
          </p:cNvPr>
          <p:cNvSpPr>
            <a:spLocks noGrp="1"/>
          </p:cNvSpPr>
          <p:nvPr>
            <p:ph type="sldNum" sz="quarter" idx="25"/>
          </p:nvPr>
        </p:nvSpPr>
        <p:spPr/>
        <p:txBody>
          <a:bodyPr/>
          <a:lstStyle/>
          <a:p>
            <a:fld id="{6C385236-B7BA-4938-9EA6-6DEC8CA653D7}" type="slidenum">
              <a:rPr lang="en-GB" noProof="0" smtClean="0"/>
              <a:pPr/>
              <a:t>20</a:t>
            </a:fld>
            <a:endParaRPr lang="en-GB" noProof="0" dirty="0"/>
          </a:p>
        </p:txBody>
      </p:sp>
      <p:sp>
        <p:nvSpPr>
          <p:cNvPr id="3" name="Pladsholder til tekst 2">
            <a:extLst>
              <a:ext uri="{FF2B5EF4-FFF2-40B4-BE49-F238E27FC236}">
                <a16:creationId xmlns:a16="http://schemas.microsoft.com/office/drawing/2014/main" id="{F2A8494B-672B-6FA2-FD52-CE06C0DAEFA8}"/>
              </a:ext>
            </a:extLst>
          </p:cNvPr>
          <p:cNvSpPr>
            <a:spLocks noGrp="1"/>
          </p:cNvSpPr>
          <p:nvPr>
            <p:ph type="body" sz="quarter" idx="14"/>
          </p:nvPr>
        </p:nvSpPr>
        <p:spPr/>
        <p:txBody>
          <a:bodyPr/>
          <a:lstStyle/>
          <a:p>
            <a:r>
              <a:t>Uso diario</a:t>
            </a:r>
          </a:p>
        </p:txBody>
      </p:sp>
      <p:sp>
        <p:nvSpPr>
          <p:cNvPr id="4" name="Titel 3">
            <a:extLst>
              <a:ext uri="{FF2B5EF4-FFF2-40B4-BE49-F238E27FC236}">
                <a16:creationId xmlns:a16="http://schemas.microsoft.com/office/drawing/2014/main" id="{A7BEC1E9-72F0-1CB9-4837-BC5E1370DAE6}"/>
              </a:ext>
            </a:extLst>
          </p:cNvPr>
          <p:cNvSpPr>
            <a:spLocks noGrp="1"/>
          </p:cNvSpPr>
          <p:nvPr>
            <p:ph type="title"/>
          </p:nvPr>
        </p:nvSpPr>
        <p:spPr/>
        <p:txBody>
          <a:bodyPr/>
          <a:lstStyle/>
          <a:p>
            <a:r>
              <a:t>Interfaz de usuario mejorada</a:t>
            </a:r>
            <a:endParaRPr lang="en-GB" noProof="0" dirty="0"/>
          </a:p>
        </p:txBody>
      </p:sp>
    </p:spTree>
    <p:extLst>
      <p:ext uri="{BB962C8B-B14F-4D97-AF65-F5344CB8AC3E}">
        <p14:creationId xmlns:p14="http://schemas.microsoft.com/office/powerpoint/2010/main" val="8682187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F80C2B0A-F6E8-6F1E-98DF-83DDF9F74204}"/>
              </a:ext>
            </a:extLst>
          </p:cNvPr>
          <p:cNvSpPr>
            <a:spLocks noGrp="1"/>
          </p:cNvSpPr>
          <p:nvPr>
            <p:ph sz="quarter" idx="18"/>
          </p:nvPr>
        </p:nvSpPr>
        <p:spPr/>
        <p:txBody>
          <a:bodyPr/>
          <a:lstStyle/>
          <a:p>
            <a:pPr marL="0" indent="0">
              <a:buNone/>
            </a:pPr>
            <a:r>
              <a:rPr>
                <a:latin typeface="+mj-lt"/>
              </a:rPr>
              <a:t>Información sobre las máquinas</a:t>
            </a:r>
          </a:p>
          <a:p>
            <a:pPr marL="0" indent="0">
              <a:buNone/>
            </a:pPr>
            <a:endParaRPr lang="en-GB" noProof="0" dirty="0"/>
          </a:p>
          <a:p>
            <a:pPr marL="0" indent="0">
              <a:buNone/>
            </a:pPr>
            <a:r>
              <a:t>Descubra perspectivas clave sobre:</a:t>
            </a:r>
          </a:p>
          <a:p>
            <a:pPr>
              <a:buFontTx/>
              <a:buChar char="-"/>
            </a:pPr>
            <a:r>
              <a:t>A tiempo</a:t>
            </a:r>
          </a:p>
          <a:p>
            <a:pPr>
              <a:buFontTx/>
              <a:buChar char="-"/>
            </a:pPr>
            <a:r>
              <a:t>Caldera lista para funcionar</a:t>
            </a:r>
          </a:p>
          <a:p>
            <a:pPr>
              <a:buFontTx/>
              <a:buChar char="-"/>
            </a:pPr>
            <a:r>
              <a:t>Tiempo de funcionamiento del motor y la bomba</a:t>
            </a:r>
          </a:p>
          <a:p>
            <a:pPr>
              <a:buFontTx/>
              <a:buChar char="-"/>
            </a:pPr>
            <a:r>
              <a:t>Aplicación del detergente en el momento preciso</a:t>
            </a:r>
          </a:p>
          <a:p>
            <a:pPr>
              <a:buFontTx/>
              <a:buChar char="-"/>
            </a:pPr>
            <a:r>
              <a:t>Horas desde el último mantenimiento</a:t>
            </a:r>
          </a:p>
          <a:p>
            <a:pPr>
              <a:buFontTx/>
              <a:buChar char="-"/>
            </a:pPr>
            <a:r>
              <a:t>Fecha del último servicio</a:t>
            </a:r>
          </a:p>
          <a:p>
            <a:pPr>
              <a:buFontTx/>
              <a:buChar char="-"/>
            </a:pPr>
            <a:endParaRPr lang="en-GB" noProof="0" dirty="0"/>
          </a:p>
          <a:p>
            <a:pPr marL="0" indent="0">
              <a:buNone/>
            </a:pPr>
            <a:r>
              <a:t>Encuentre la información de la máquina en la sección Menú.</a:t>
            </a:r>
          </a:p>
        </p:txBody>
      </p:sp>
      <p:sp>
        <p:nvSpPr>
          <p:cNvPr id="3" name="Pladsholder til indhold 2">
            <a:extLst>
              <a:ext uri="{FF2B5EF4-FFF2-40B4-BE49-F238E27FC236}">
                <a16:creationId xmlns:a16="http://schemas.microsoft.com/office/drawing/2014/main" id="{60C0CC03-4BE6-6DD4-C5E8-BD2EF65C663F}"/>
              </a:ext>
            </a:extLst>
          </p:cNvPr>
          <p:cNvSpPr>
            <a:spLocks noGrp="1"/>
          </p:cNvSpPr>
          <p:nvPr>
            <p:ph sz="quarter" idx="21"/>
          </p:nvPr>
        </p:nvSpPr>
        <p:spPr/>
        <p:txBody>
          <a:bodyPr/>
          <a:lstStyle/>
          <a:p>
            <a:pPr marL="0" indent="0">
              <a:buNone/>
            </a:pPr>
            <a:r>
              <a:rPr>
                <a:latin typeface="+mj-lt"/>
              </a:rPr>
              <a:t>Uso y mantenimiento</a:t>
            </a:r>
          </a:p>
          <a:p>
            <a:pPr marL="0" indent="0">
              <a:buNone/>
            </a:pPr>
            <a:endParaRPr lang="en-GB" noProof="0" dirty="0"/>
          </a:p>
          <a:p>
            <a:pPr marL="0" indent="0">
              <a:buNone/>
            </a:pPr>
            <a:r>
              <a:t>¿Necesita encontrar el manual de usuario o los artículos PAC? Escanee el código QR desde la sección de Ayuda y acceda directamente a Nilfisk.com.</a:t>
            </a:r>
          </a:p>
          <a:p>
            <a:pPr marL="0" indent="0">
              <a:buNone/>
            </a:pPr>
            <a:endParaRPr lang="en-GB" noProof="0" dirty="0"/>
          </a:p>
          <a:p>
            <a:pPr marL="0" indent="0">
              <a:buNone/>
            </a:pPr>
            <a:r>
              <a:t>Acceda a información sobre códigos históricos de advertencia y error en la sección Registro de errores del menú.</a:t>
            </a:r>
          </a:p>
          <a:p>
            <a:pPr marL="0" indent="0">
              <a:buNone/>
            </a:pPr>
            <a:endParaRPr lang="en-GB" noProof="0" dirty="0"/>
          </a:p>
          <a:p>
            <a:pPr marL="0" indent="0">
              <a:buNone/>
            </a:pPr>
            <a:endParaRPr lang="en-GB" noProof="0" dirty="0"/>
          </a:p>
          <a:p>
            <a:pPr marL="0" indent="0">
              <a:buNone/>
            </a:pPr>
            <a:endParaRPr lang="en-GB" noProof="0" dirty="0"/>
          </a:p>
          <a:p>
            <a:pPr marL="0" indent="0">
              <a:buNone/>
            </a:pPr>
            <a:endParaRPr lang="en-GB" noProof="0" dirty="0"/>
          </a:p>
          <a:p>
            <a:pPr marL="0" indent="0">
              <a:buNone/>
            </a:pPr>
            <a:endParaRPr lang="en-GB" noProof="0" dirty="0"/>
          </a:p>
          <a:p>
            <a:pPr marL="0" indent="0">
              <a:buNone/>
            </a:pPr>
            <a:endParaRPr lang="en-GB" noProof="0" dirty="0"/>
          </a:p>
          <a:p>
            <a:pPr marL="0" indent="0">
              <a:buNone/>
            </a:pPr>
            <a:endParaRPr lang="en-GB" noProof="0" dirty="0"/>
          </a:p>
        </p:txBody>
      </p:sp>
      <p:sp>
        <p:nvSpPr>
          <p:cNvPr id="4" name="Pladsholder til indhold 3">
            <a:extLst>
              <a:ext uri="{FF2B5EF4-FFF2-40B4-BE49-F238E27FC236}">
                <a16:creationId xmlns:a16="http://schemas.microsoft.com/office/drawing/2014/main" id="{D9A1F07C-4D13-9946-4FB8-4094841674D0}"/>
              </a:ext>
            </a:extLst>
          </p:cNvPr>
          <p:cNvSpPr>
            <a:spLocks noGrp="1"/>
          </p:cNvSpPr>
          <p:nvPr>
            <p:ph sz="quarter" idx="22"/>
          </p:nvPr>
        </p:nvSpPr>
        <p:spPr/>
        <p:txBody>
          <a:bodyPr/>
          <a:lstStyle/>
          <a:p>
            <a:pPr marL="0" indent="0">
              <a:buNone/>
            </a:pPr>
            <a:r>
              <a:rPr>
                <a:latin typeface="+mj-lt"/>
              </a:rPr>
              <a:t>Guía del usuario de hidrolimpiadoras</a:t>
            </a:r>
          </a:p>
          <a:p>
            <a:pPr marL="0" indent="0">
              <a:buNone/>
            </a:pPr>
            <a:endParaRPr lang="en-GB" noProof="0" dirty="0"/>
          </a:p>
          <a:p>
            <a:pPr marL="0" indent="0">
              <a:buNone/>
            </a:pPr>
            <a:r>
              <a:t>Descubra las mejores prácticas para el uso óptimo de hidrolavadoras.</a:t>
            </a:r>
          </a:p>
          <a:p>
            <a:pPr marL="0" indent="0">
              <a:buNone/>
            </a:pPr>
            <a:endParaRPr lang="en-GB" noProof="0" dirty="0"/>
          </a:p>
          <a:p>
            <a:pPr marL="0" indent="0">
              <a:buNone/>
            </a:pPr>
            <a:r>
              <a:t>Oriente a los nuevos usuarios con información sobre</a:t>
            </a:r>
          </a:p>
          <a:p>
            <a:pPr>
              <a:buFontTx/>
              <a:buChar char="-"/>
            </a:pPr>
            <a:r>
              <a:t>Distancia de pulverización</a:t>
            </a:r>
          </a:p>
          <a:p>
            <a:pPr>
              <a:buFontTx/>
              <a:buChar char="-"/>
            </a:pPr>
            <a:r>
              <a:t>Ajuste de presión</a:t>
            </a:r>
          </a:p>
          <a:p>
            <a:pPr>
              <a:buFontTx/>
              <a:buChar char="-"/>
            </a:pPr>
            <a:r>
              <a:t>Ajuste de temperatura</a:t>
            </a:r>
          </a:p>
          <a:p>
            <a:pPr>
              <a:buFontTx/>
              <a:buChar char="-"/>
            </a:pPr>
            <a:r>
              <a:t>Ángulo de pulverización</a:t>
            </a:r>
          </a:p>
          <a:p>
            <a:pPr>
              <a:buFontTx/>
              <a:buChar char="-"/>
            </a:pPr>
            <a:r>
              <a:t>Y mucho más</a:t>
            </a:r>
          </a:p>
          <a:p>
            <a:pPr>
              <a:buFontTx/>
              <a:buChar char="-"/>
            </a:pPr>
            <a:endParaRPr lang="en-GB" noProof="0" dirty="0"/>
          </a:p>
          <a:p>
            <a:pPr marL="0" indent="0">
              <a:buNone/>
            </a:pPr>
            <a:r>
              <a:t>Se encuentra en la sección de ayuda</a:t>
            </a:r>
          </a:p>
        </p:txBody>
      </p:sp>
      <p:sp>
        <p:nvSpPr>
          <p:cNvPr id="5" name="Pladsholder til sidefod 4">
            <a:extLst>
              <a:ext uri="{FF2B5EF4-FFF2-40B4-BE49-F238E27FC236}">
                <a16:creationId xmlns:a16="http://schemas.microsoft.com/office/drawing/2014/main" id="{7C39B8A3-5B3C-0419-A9E7-F78BB97AE37C}"/>
              </a:ext>
            </a:extLst>
          </p:cNvPr>
          <p:cNvSpPr>
            <a:spLocks noGrp="1"/>
          </p:cNvSpPr>
          <p:nvPr>
            <p:ph type="ftr" sz="quarter" idx="24"/>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1EAC9213-B6A0-71F4-51CC-A124D87B52FA}"/>
              </a:ext>
            </a:extLst>
          </p:cNvPr>
          <p:cNvSpPr>
            <a:spLocks noGrp="1"/>
          </p:cNvSpPr>
          <p:nvPr>
            <p:ph type="sldNum" sz="quarter" idx="25"/>
          </p:nvPr>
        </p:nvSpPr>
        <p:spPr/>
        <p:txBody>
          <a:bodyPr/>
          <a:lstStyle/>
          <a:p>
            <a:fld id="{6C385236-B7BA-4938-9EA6-6DEC8CA653D7}" type="slidenum">
              <a:rPr lang="en-GB" noProof="0" smtClean="0"/>
              <a:pPr/>
              <a:t>21</a:t>
            </a:fld>
            <a:endParaRPr lang="en-GB" noProof="0" dirty="0"/>
          </a:p>
        </p:txBody>
      </p:sp>
      <p:sp>
        <p:nvSpPr>
          <p:cNvPr id="7" name="Pladsholder til tekst 6">
            <a:extLst>
              <a:ext uri="{FF2B5EF4-FFF2-40B4-BE49-F238E27FC236}">
                <a16:creationId xmlns:a16="http://schemas.microsoft.com/office/drawing/2014/main" id="{17844E6A-DE9D-16FC-6488-20718DFC9050}"/>
              </a:ext>
            </a:extLst>
          </p:cNvPr>
          <p:cNvSpPr>
            <a:spLocks noGrp="1"/>
          </p:cNvSpPr>
          <p:nvPr>
            <p:ph type="body" sz="quarter" idx="14"/>
          </p:nvPr>
        </p:nvSpPr>
        <p:spPr/>
        <p:txBody>
          <a:bodyPr/>
          <a:lstStyle/>
          <a:p>
            <a:r>
              <a:t>Aspectos clave, uso y mantenimiento, y puesta en marcha</a:t>
            </a:r>
          </a:p>
        </p:txBody>
      </p:sp>
      <p:sp>
        <p:nvSpPr>
          <p:cNvPr id="8" name="Titel 7">
            <a:extLst>
              <a:ext uri="{FF2B5EF4-FFF2-40B4-BE49-F238E27FC236}">
                <a16:creationId xmlns:a16="http://schemas.microsoft.com/office/drawing/2014/main" id="{EE793E2F-E39E-9AE9-CFAD-33780B7E8E83}"/>
              </a:ext>
            </a:extLst>
          </p:cNvPr>
          <p:cNvSpPr>
            <a:spLocks noGrp="1"/>
          </p:cNvSpPr>
          <p:nvPr>
            <p:ph type="title"/>
          </p:nvPr>
        </p:nvSpPr>
        <p:spPr/>
        <p:txBody>
          <a:bodyPr/>
          <a:lstStyle/>
          <a:p>
            <a:r>
              <a:t>Actualización de la interfaz de usuario</a:t>
            </a:r>
          </a:p>
        </p:txBody>
      </p:sp>
    </p:spTree>
    <p:extLst>
      <p:ext uri="{BB962C8B-B14F-4D97-AF65-F5344CB8AC3E}">
        <p14:creationId xmlns:p14="http://schemas.microsoft.com/office/powerpoint/2010/main" val="34899331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FEE646D7-6F58-597A-F07C-379FC2DE604C}"/>
              </a:ext>
            </a:extLst>
          </p:cNvPr>
          <p:cNvSpPr>
            <a:spLocks noGrp="1"/>
          </p:cNvSpPr>
          <p:nvPr>
            <p:ph type="ftr" sz="quarter" idx="21"/>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D47DB8AA-FB3D-542E-39FD-E7C481FCB9F8}"/>
              </a:ext>
            </a:extLst>
          </p:cNvPr>
          <p:cNvSpPr>
            <a:spLocks noGrp="1"/>
          </p:cNvSpPr>
          <p:nvPr>
            <p:ph type="sldNum" sz="quarter" idx="22"/>
          </p:nvPr>
        </p:nvSpPr>
        <p:spPr/>
        <p:txBody>
          <a:bodyPr/>
          <a:lstStyle/>
          <a:p>
            <a:fld id="{6C385236-B7BA-4938-9EA6-6DEC8CA653D7}" type="slidenum">
              <a:rPr lang="en-GB" noProof="0" smtClean="0"/>
              <a:pPr/>
              <a:t>22</a:t>
            </a:fld>
            <a:endParaRPr lang="en-GB" noProof="0" dirty="0"/>
          </a:p>
        </p:txBody>
      </p:sp>
      <p:sp>
        <p:nvSpPr>
          <p:cNvPr id="9" name="Pladsholder til indhold 8">
            <a:extLst>
              <a:ext uri="{FF2B5EF4-FFF2-40B4-BE49-F238E27FC236}">
                <a16:creationId xmlns:a16="http://schemas.microsoft.com/office/drawing/2014/main" id="{7ACFF741-CC5E-792E-F799-9DD98802E7FC}"/>
              </a:ext>
            </a:extLst>
          </p:cNvPr>
          <p:cNvSpPr>
            <a:spLocks noGrp="1"/>
          </p:cNvSpPr>
          <p:nvPr>
            <p:ph sz="quarter" idx="18"/>
          </p:nvPr>
        </p:nvSpPr>
        <p:spPr/>
        <p:txBody>
          <a:bodyPr/>
          <a:lstStyle/>
          <a:p>
            <a:pPr marL="0" indent="0">
              <a:buNone/>
            </a:pPr>
            <a:r>
              <a:rPr>
                <a:latin typeface="+mj-lt"/>
              </a:rPr>
              <a:t>Advertencias</a:t>
            </a:r>
          </a:p>
          <a:p>
            <a:pPr marL="0" indent="0">
              <a:buNone/>
            </a:pPr>
            <a:endParaRPr lang="en-GB" noProof="0" dirty="0"/>
          </a:p>
          <a:p>
            <a:pPr marL="0" indent="0">
              <a:buNone/>
            </a:pPr>
            <a:r>
              <a:t>El equipo notificará a los usuarios si:</a:t>
            </a:r>
          </a:p>
          <a:p>
            <a:pPr>
              <a:buFontTx/>
              <a:buChar char="-"/>
            </a:pPr>
            <a:r>
              <a:t>Depósito de combustible vacío</a:t>
            </a:r>
          </a:p>
          <a:p>
            <a:pPr>
              <a:buFontTx/>
              <a:buChar char="-"/>
            </a:pPr>
            <a:r>
              <a:t>Tecnología Anticalcárea</a:t>
            </a:r>
          </a:p>
          <a:p>
            <a:pPr>
              <a:buFontTx/>
              <a:buChar char="-"/>
            </a:pPr>
            <a:r>
              <a:t>Mantenimiento pendiente (con cuenta regresiva en horas)</a:t>
            </a:r>
          </a:p>
          <a:p>
            <a:pPr>
              <a:buFontTx/>
              <a:buChar char="-"/>
            </a:pPr>
            <a:r>
              <a:t>Servicio vencido (con contador de horas)</a:t>
            </a:r>
          </a:p>
          <a:p>
            <a:pPr>
              <a:buFontTx/>
              <a:buChar char="-"/>
            </a:pPr>
            <a:r>
              <a:t>Falta de flujo de agua hacia la máquina</a:t>
            </a:r>
          </a:p>
          <a:p>
            <a:pPr>
              <a:buFontTx/>
              <a:buChar char="-"/>
            </a:pPr>
            <a:r>
              <a:t>Error del sensor de presión</a:t>
            </a:r>
          </a:p>
          <a:p>
            <a:pPr marL="0" indent="0">
              <a:buNone/>
            </a:pPr>
            <a:endParaRPr lang="en-GB" noProof="0" dirty="0"/>
          </a:p>
          <a:p>
            <a:pPr marL="0" indent="0">
              <a:buNone/>
            </a:pPr>
            <a:r>
              <a:t>El mensaje emergente mostrará la causa y una solución para corregir la advertencia.</a:t>
            </a:r>
          </a:p>
          <a:p>
            <a:pPr marL="0" indent="0">
              <a:buNone/>
            </a:pPr>
            <a:endParaRPr lang="en-GB" noProof="0" dirty="0"/>
          </a:p>
          <a:p>
            <a:pPr marL="0" indent="0">
              <a:buNone/>
            </a:pPr>
            <a:endParaRPr lang="en-GB" noProof="0" dirty="0"/>
          </a:p>
          <a:p>
            <a:pPr>
              <a:buFontTx/>
              <a:buChar char="-"/>
            </a:pPr>
            <a:endParaRPr lang="en-GB" noProof="0" dirty="0"/>
          </a:p>
          <a:p>
            <a:pPr>
              <a:buFontTx/>
              <a:buChar char="-"/>
            </a:pPr>
            <a:endParaRPr lang="en-GB" noProof="0" dirty="0"/>
          </a:p>
          <a:p>
            <a:pPr>
              <a:buFontTx/>
              <a:buChar char="-"/>
            </a:pPr>
            <a:endParaRPr lang="en-GB" noProof="0" dirty="0"/>
          </a:p>
        </p:txBody>
      </p:sp>
      <p:sp>
        <p:nvSpPr>
          <p:cNvPr id="10" name="Pladsholder til indhold 9">
            <a:extLst>
              <a:ext uri="{FF2B5EF4-FFF2-40B4-BE49-F238E27FC236}">
                <a16:creationId xmlns:a16="http://schemas.microsoft.com/office/drawing/2014/main" id="{E4F9562C-E8A0-9684-ABEA-A97BF5E4194F}"/>
              </a:ext>
            </a:extLst>
          </p:cNvPr>
          <p:cNvSpPr>
            <a:spLocks noGrp="1"/>
          </p:cNvSpPr>
          <p:nvPr>
            <p:ph sz="quarter" idx="23"/>
          </p:nvPr>
        </p:nvSpPr>
        <p:spPr/>
        <p:txBody>
          <a:bodyPr/>
          <a:lstStyle/>
          <a:p>
            <a:pPr marL="0" indent="0">
              <a:buNone/>
            </a:pPr>
            <a:r>
              <a:rPr>
                <a:latin typeface="+mj-lt"/>
              </a:rPr>
              <a:t>Mensajes de error</a:t>
            </a:r>
          </a:p>
          <a:p>
            <a:pPr marL="0" indent="0">
              <a:buNone/>
            </a:pPr>
            <a:endParaRPr lang="en-GB" noProof="0" dirty="0"/>
          </a:p>
          <a:p>
            <a:pPr marL="0" indent="0">
              <a:buNone/>
            </a:pPr>
            <a:r>
              <a:t>La máquina informará y limitará la limpieza en los programas de limpieza seleccionados si se detectan errores en la caldera, el motor, la bomba o los sensores.</a:t>
            </a:r>
          </a:p>
          <a:p>
            <a:pPr marL="0" indent="0">
              <a:buNone/>
            </a:pPr>
            <a:endParaRPr lang="en-GB" noProof="0" dirty="0"/>
          </a:p>
          <a:p>
            <a:pPr marL="0" indent="0">
              <a:buNone/>
            </a:pPr>
            <a:r>
              <a:t>El objetivo del comportamiento ante errores es proteger el funcionamiento de la máquina durante su uso presente y futuro.</a:t>
            </a:r>
          </a:p>
          <a:p>
            <a:pPr marL="0" indent="0">
              <a:buNone/>
            </a:pPr>
            <a:endParaRPr lang="en-GB" noProof="0" dirty="0"/>
          </a:p>
          <a:p>
            <a:pPr marL="0" indent="0">
              <a:buNone/>
            </a:pPr>
            <a:r>
              <a:t>Los mensajes emergentes mostrarán una causa y una solución para resolver el error. Se mostrará un código QR para escanear y contactar directamente con el Servicio Nilfisk.</a:t>
            </a:r>
          </a:p>
        </p:txBody>
      </p:sp>
      <p:sp>
        <p:nvSpPr>
          <p:cNvPr id="7" name="Pladsholder til tekst 6">
            <a:extLst>
              <a:ext uri="{FF2B5EF4-FFF2-40B4-BE49-F238E27FC236}">
                <a16:creationId xmlns:a16="http://schemas.microsoft.com/office/drawing/2014/main" id="{29C97238-B7C3-F1CE-4A66-8AD99E519945}"/>
              </a:ext>
            </a:extLst>
          </p:cNvPr>
          <p:cNvSpPr>
            <a:spLocks noGrp="1"/>
          </p:cNvSpPr>
          <p:nvPr>
            <p:ph type="body" sz="quarter" idx="14"/>
          </p:nvPr>
        </p:nvSpPr>
        <p:spPr/>
        <p:txBody>
          <a:bodyPr/>
          <a:lstStyle/>
          <a:p>
            <a:r>
              <a:t>Maximice el rendimiento y la vida útil de su máquina</a:t>
            </a:r>
          </a:p>
        </p:txBody>
      </p:sp>
      <p:sp>
        <p:nvSpPr>
          <p:cNvPr id="8" name="Titel 7">
            <a:extLst>
              <a:ext uri="{FF2B5EF4-FFF2-40B4-BE49-F238E27FC236}">
                <a16:creationId xmlns:a16="http://schemas.microsoft.com/office/drawing/2014/main" id="{A8344499-2D65-584A-0992-9367BD63DF07}"/>
              </a:ext>
            </a:extLst>
          </p:cNvPr>
          <p:cNvSpPr>
            <a:spLocks noGrp="1"/>
          </p:cNvSpPr>
          <p:nvPr>
            <p:ph type="title"/>
          </p:nvPr>
        </p:nvSpPr>
        <p:spPr/>
        <p:txBody>
          <a:bodyPr/>
          <a:lstStyle/>
          <a:p>
            <a:r>
              <a:t>Interfaz de usuario mejorada</a:t>
            </a:r>
            <a:endParaRPr lang="en-GB" noProof="0" dirty="0"/>
          </a:p>
        </p:txBody>
      </p:sp>
    </p:spTree>
    <p:extLst>
      <p:ext uri="{BB962C8B-B14F-4D97-AF65-F5344CB8AC3E}">
        <p14:creationId xmlns:p14="http://schemas.microsoft.com/office/powerpoint/2010/main" val="548276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BF9AC11-C7C1-5137-9CA4-2B996F618B23}"/>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6" name="Slide Number Placeholder 5">
            <a:extLst>
              <a:ext uri="{FF2B5EF4-FFF2-40B4-BE49-F238E27FC236}">
                <a16:creationId xmlns:a16="http://schemas.microsoft.com/office/drawing/2014/main" id="{66B8F385-614A-58B4-7751-8B0EE515A538}"/>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23</a:t>
            </a:fld>
            <a:endParaRPr lang="en-GB" noProof="0" dirty="0"/>
          </a:p>
        </p:txBody>
      </p:sp>
      <p:pic>
        <p:nvPicPr>
          <p:cNvPr id="10" name="Picture 2" descr="Et billede, der indeholder apparat/anordning&#10;&#10;AI-genereret indhold kan være ukorrekt.">
            <a:extLst>
              <a:ext uri="{FF2B5EF4-FFF2-40B4-BE49-F238E27FC236}">
                <a16:creationId xmlns:a16="http://schemas.microsoft.com/office/drawing/2014/main" id="{C4D93E17-7E14-471D-C850-882669B7ECE6}"/>
              </a:ext>
            </a:extLst>
          </p:cNvPr>
          <p:cNvPicPr>
            <a:picLocks noChangeAspect="1"/>
          </p:cNvPicPr>
          <p:nvPr/>
        </p:nvPicPr>
        <p:blipFill>
          <a:blip r:embed="rId2" cstate="hqprint">
            <a:extLst>
              <a:ext uri="{28A0092B-C50C-407E-A947-70E740481C1C}">
                <a14:useLocalDpi xmlns:a14="http://schemas.microsoft.com/office/drawing/2010/main"/>
              </a:ext>
            </a:extLst>
          </a:blip>
          <a:srcRect t="1556" b="1556"/>
          <a:stretch/>
        </p:blipFill>
        <p:spPr>
          <a:xfrm>
            <a:off x="6613316" y="1251034"/>
            <a:ext cx="4723242" cy="4610837"/>
          </a:xfrm>
          <a:prstGeom prst="rect">
            <a:avLst/>
          </a:prstGeom>
          <a:solidFill>
            <a:schemeClr val="bg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139700" sx="102000" sy="102000" algn="ctr" rotWithShape="0">
              <a:schemeClr val="bg2">
                <a:alpha val="30000"/>
              </a:schemeClr>
            </a:outerShdw>
          </a:effectLst>
        </p:spPr>
      </p:pic>
      <p:sp>
        <p:nvSpPr>
          <p:cNvPr id="3" name="Text Placeholder 2">
            <a:extLst>
              <a:ext uri="{FF2B5EF4-FFF2-40B4-BE49-F238E27FC236}">
                <a16:creationId xmlns:a16="http://schemas.microsoft.com/office/drawing/2014/main" id="{8B026C1B-7CAD-A9FE-B724-605DECABAEB8}"/>
              </a:ext>
            </a:extLst>
          </p:cNvPr>
          <p:cNvSpPr>
            <a:spLocks noGrp="1"/>
          </p:cNvSpPr>
          <p:nvPr>
            <p:ph type="body" sz="quarter" idx="14"/>
          </p:nvPr>
        </p:nvSpPr>
        <p:spPr>
          <a:xfrm>
            <a:off x="475521" y="873877"/>
            <a:ext cx="11235102" cy="376456"/>
          </a:xfrm>
        </p:spPr>
        <p:txBody>
          <a:bodyPr>
            <a:normAutofit/>
          </a:bodyPr>
          <a:lstStyle/>
          <a:p>
            <a:r>
              <a:t>Gama Estándar</a:t>
            </a:r>
          </a:p>
        </p:txBody>
      </p:sp>
      <p:sp>
        <p:nvSpPr>
          <p:cNvPr id="4" name="Title 3">
            <a:extLst>
              <a:ext uri="{FF2B5EF4-FFF2-40B4-BE49-F238E27FC236}">
                <a16:creationId xmlns:a16="http://schemas.microsoft.com/office/drawing/2014/main" id="{0E3D1433-8F76-AAB7-877C-8F6B7FD81DB0}"/>
              </a:ext>
            </a:extLst>
          </p:cNvPr>
          <p:cNvSpPr>
            <a:spLocks noGrp="1"/>
          </p:cNvSpPr>
          <p:nvPr>
            <p:ph type="title"/>
          </p:nvPr>
        </p:nvSpPr>
        <p:spPr>
          <a:xfrm>
            <a:off x="479425" y="494490"/>
            <a:ext cx="11233150" cy="388013"/>
          </a:xfrm>
        </p:spPr>
        <p:txBody>
          <a:bodyPr anchor="t">
            <a:noAutofit/>
          </a:bodyPr>
          <a:lstStyle/>
          <a:p>
            <a:r>
              <a:t>MH20-70</a:t>
            </a:r>
          </a:p>
        </p:txBody>
      </p:sp>
      <p:pic>
        <p:nvPicPr>
          <p:cNvPr id="8" name="Picture 7" descr="A black and blue machine with wheels&#10;&#10;AI-generated content may be incorrect.">
            <a:extLst>
              <a:ext uri="{FF2B5EF4-FFF2-40B4-BE49-F238E27FC236}">
                <a16:creationId xmlns:a16="http://schemas.microsoft.com/office/drawing/2014/main" id="{488BB3D2-0A3F-E80E-D765-547CE9DE729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15037" y="1248343"/>
            <a:ext cx="4140446" cy="4796414"/>
          </a:xfrm>
          <a:prstGeom prst="rect">
            <a:avLst/>
          </a:prstGeom>
        </p:spPr>
      </p:pic>
    </p:spTree>
    <p:extLst>
      <p:ext uri="{BB962C8B-B14F-4D97-AF65-F5344CB8AC3E}">
        <p14:creationId xmlns:p14="http://schemas.microsoft.com/office/powerpoint/2010/main" val="8950440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03593-CD76-C312-EFBC-B1C9C80109DE}"/>
            </a:ext>
          </a:extLst>
        </p:cNvPr>
        <p:cNvGrpSpPr/>
        <p:nvPr/>
      </p:nvGrpSpPr>
      <p:grpSpPr>
        <a:xfrm>
          <a:off x="0" y="0"/>
          <a:ext cx="0" cy="0"/>
          <a:chOff x="0" y="0"/>
          <a:chExt cx="0" cy="0"/>
        </a:xfrm>
      </p:grpSpPr>
      <p:pic>
        <p:nvPicPr>
          <p:cNvPr id="6" name="Picture 5" descr="A black and blue machine with wheels&#10;&#10;AI-generated content may be incorrect.">
            <a:extLst>
              <a:ext uri="{FF2B5EF4-FFF2-40B4-BE49-F238E27FC236}">
                <a16:creationId xmlns:a16="http://schemas.microsoft.com/office/drawing/2014/main" id="{7ADC81E8-9B6A-CE5A-9E60-54722BB16B0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82978" y="711887"/>
            <a:ext cx="5129231" cy="5948485"/>
          </a:xfrm>
          <a:prstGeom prst="rect">
            <a:avLst/>
          </a:prstGeom>
        </p:spPr>
      </p:pic>
      <p:sp>
        <p:nvSpPr>
          <p:cNvPr id="7" name="Title 6">
            <a:extLst>
              <a:ext uri="{FF2B5EF4-FFF2-40B4-BE49-F238E27FC236}">
                <a16:creationId xmlns:a16="http://schemas.microsoft.com/office/drawing/2014/main" id="{B47DA84A-0773-404F-531D-23AF9EE6859E}"/>
              </a:ext>
            </a:extLst>
          </p:cNvPr>
          <p:cNvSpPr>
            <a:spLocks noGrp="1"/>
          </p:cNvSpPr>
          <p:nvPr>
            <p:ph type="title"/>
          </p:nvPr>
        </p:nvSpPr>
        <p:spPr/>
        <p:txBody>
          <a:bodyPr/>
          <a:lstStyle/>
          <a:p>
            <a:r>
              <a:t>MH20-70</a:t>
            </a:r>
          </a:p>
        </p:txBody>
      </p:sp>
      <p:sp>
        <p:nvSpPr>
          <p:cNvPr id="4" name="Footer Placeholder 3">
            <a:extLst>
              <a:ext uri="{FF2B5EF4-FFF2-40B4-BE49-F238E27FC236}">
                <a16:creationId xmlns:a16="http://schemas.microsoft.com/office/drawing/2014/main" id="{3E735C3E-4B46-D566-CEF3-0A8DC78AFF6E}"/>
              </a:ext>
            </a:extLst>
          </p:cNvPr>
          <p:cNvSpPr>
            <a:spLocks noGrp="1"/>
          </p:cNvSpPr>
          <p:nvPr>
            <p:ph type="ftr" sz="quarter" idx="16"/>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CC1A40D-EF96-E5D0-CFB4-72A6BCAFE579}"/>
              </a:ext>
            </a:extLst>
          </p:cNvPr>
          <p:cNvSpPr>
            <a:spLocks noGrp="1"/>
          </p:cNvSpPr>
          <p:nvPr>
            <p:ph type="sldNum" sz="quarter" idx="17"/>
          </p:nvPr>
        </p:nvSpPr>
        <p:spPr/>
        <p:txBody>
          <a:bodyPr/>
          <a:lstStyle/>
          <a:p>
            <a:fld id="{6C385236-B7BA-4938-9EA6-6DEC8CA653D7}" type="slidenum">
              <a:rPr lang="en-GB" noProof="0" smtClean="0"/>
              <a:pPr/>
              <a:t>24</a:t>
            </a:fld>
            <a:endParaRPr lang="en-GB" noProof="0" dirty="0"/>
          </a:p>
        </p:txBody>
      </p:sp>
      <p:sp>
        <p:nvSpPr>
          <p:cNvPr id="9" name="Text Placeholder 8">
            <a:extLst>
              <a:ext uri="{FF2B5EF4-FFF2-40B4-BE49-F238E27FC236}">
                <a16:creationId xmlns:a16="http://schemas.microsoft.com/office/drawing/2014/main" id="{3E3ECE3B-B2DE-5ABE-C0AE-B74F60D9A207}"/>
              </a:ext>
            </a:extLst>
          </p:cNvPr>
          <p:cNvSpPr>
            <a:spLocks noGrp="1"/>
          </p:cNvSpPr>
          <p:nvPr>
            <p:ph type="body" sz="quarter" idx="14"/>
          </p:nvPr>
        </p:nvSpPr>
        <p:spPr/>
        <p:txBody>
          <a:bodyPr/>
          <a:lstStyle/>
          <a:p>
            <a:r>
              <a:t>Ventajas y beneficios de la gama MH</a:t>
            </a:r>
          </a:p>
        </p:txBody>
      </p:sp>
      <p:sp>
        <p:nvSpPr>
          <p:cNvPr id="12" name="Rectangle 11">
            <a:extLst>
              <a:ext uri="{FF2B5EF4-FFF2-40B4-BE49-F238E27FC236}">
                <a16:creationId xmlns:a16="http://schemas.microsoft.com/office/drawing/2014/main" id="{46A7A63D-9457-B093-5B80-8D16A2C1A80C}"/>
              </a:ext>
            </a:extLst>
          </p:cNvPr>
          <p:cNvSpPr/>
          <p:nvPr/>
        </p:nvSpPr>
        <p:spPr>
          <a:xfrm>
            <a:off x="9419684" y="3282474"/>
            <a:ext cx="2290939" cy="686213"/>
          </a:xfrm>
          <a:prstGeom prst="rect">
            <a:avLst/>
          </a:prstGeom>
        </p:spPr>
        <p:txBody>
          <a:bodyPr wrap="square" lIns="0" tIns="0" rIns="0" bIns="91440">
            <a:spAutoFit/>
          </a:bodyPr>
          <a:lstStyle/>
          <a:p>
            <a:pPr algn="r">
              <a:lnSpc>
                <a:spcPct val="120000"/>
              </a:lnSpc>
            </a:pPr>
            <a:r>
              <a:rPr sz="1100">
                <a:latin typeface="+mj-lt"/>
              </a:rPr>
              <a:t>Caja de almacenamiento</a:t>
            </a:r>
          </a:p>
          <a:p>
            <a:pPr algn="r">
              <a:lnSpc>
                <a:spcPct val="120000"/>
              </a:lnSpc>
            </a:pPr>
            <a:r>
              <a:rPr sz="1100"/>
              <a:t>Guarde las herramientas y los accesorios en la guantera o sobre las superficies texturizadas.</a:t>
            </a:r>
          </a:p>
        </p:txBody>
      </p:sp>
      <p:sp>
        <p:nvSpPr>
          <p:cNvPr id="25" name="Rectangle 24">
            <a:extLst>
              <a:ext uri="{FF2B5EF4-FFF2-40B4-BE49-F238E27FC236}">
                <a16:creationId xmlns:a16="http://schemas.microsoft.com/office/drawing/2014/main" id="{DFB05012-A1E8-0EE1-37F8-A8A0F53C8EB0}"/>
              </a:ext>
            </a:extLst>
          </p:cNvPr>
          <p:cNvSpPr/>
          <p:nvPr/>
        </p:nvSpPr>
        <p:spPr>
          <a:xfrm>
            <a:off x="479422" y="2716690"/>
            <a:ext cx="3003556" cy="483081"/>
          </a:xfrm>
          <a:prstGeom prst="rect">
            <a:avLst/>
          </a:prstGeom>
        </p:spPr>
        <p:txBody>
          <a:bodyPr wrap="square" lIns="0" tIns="0" rIns="0" bIns="91440">
            <a:spAutoFit/>
          </a:bodyPr>
          <a:lstStyle/>
          <a:p>
            <a:pPr>
              <a:lnSpc>
                <a:spcPct val="120000"/>
              </a:lnSpc>
            </a:pPr>
            <a:r>
              <a:rPr sz="1100">
                <a:latin typeface="+mj-lt"/>
              </a:rPr>
              <a:t>Manguera reforzada </a:t>
            </a:r>
            <a:r>
              <a:rPr sz="1100"/>
              <a:t>con acero: duradera y flexible</a:t>
            </a:r>
          </a:p>
        </p:txBody>
      </p:sp>
      <p:sp>
        <p:nvSpPr>
          <p:cNvPr id="36" name="Rectangle 35">
            <a:extLst>
              <a:ext uri="{FF2B5EF4-FFF2-40B4-BE49-F238E27FC236}">
                <a16:creationId xmlns:a16="http://schemas.microsoft.com/office/drawing/2014/main" id="{768E7A15-11DF-3EB8-F130-C4F8F8D3A3EE}"/>
              </a:ext>
            </a:extLst>
          </p:cNvPr>
          <p:cNvSpPr/>
          <p:nvPr/>
        </p:nvSpPr>
        <p:spPr>
          <a:xfrm>
            <a:off x="500752" y="4721117"/>
            <a:ext cx="2625917" cy="686213"/>
          </a:xfrm>
          <a:prstGeom prst="rect">
            <a:avLst/>
          </a:prstGeom>
        </p:spPr>
        <p:txBody>
          <a:bodyPr wrap="square" lIns="0" tIns="0" rIns="0" bIns="91440">
            <a:spAutoFit/>
          </a:bodyPr>
          <a:lstStyle/>
          <a:p>
            <a:pPr>
              <a:lnSpc>
                <a:spcPct val="120000"/>
              </a:lnSpc>
            </a:pPr>
            <a:r>
              <a:rPr sz="1100">
                <a:latin typeface="+mj-lt"/>
              </a:rPr>
              <a:t>Lanza universal </a:t>
            </a:r>
            <a:r>
              <a:rPr sz="1100"/>
              <a:t>Lanza de boquilla única que garantiza un rendimiento óptimo gracias a su diseño de alta eficiencia.</a:t>
            </a:r>
          </a:p>
        </p:txBody>
      </p:sp>
      <p:sp>
        <p:nvSpPr>
          <p:cNvPr id="38" name="Rectangle 37">
            <a:extLst>
              <a:ext uri="{FF2B5EF4-FFF2-40B4-BE49-F238E27FC236}">
                <a16:creationId xmlns:a16="http://schemas.microsoft.com/office/drawing/2014/main" id="{CBEB5549-7585-9BF1-1D21-971E5BF69BD3}"/>
              </a:ext>
            </a:extLst>
          </p:cNvPr>
          <p:cNvSpPr/>
          <p:nvPr/>
        </p:nvSpPr>
        <p:spPr>
          <a:xfrm>
            <a:off x="8497737" y="4352152"/>
            <a:ext cx="3232499" cy="483081"/>
          </a:xfrm>
          <a:prstGeom prst="rect">
            <a:avLst/>
          </a:prstGeom>
        </p:spPr>
        <p:txBody>
          <a:bodyPr wrap="square" lIns="0" tIns="0" rIns="0" bIns="91440">
            <a:spAutoFit/>
          </a:bodyPr>
          <a:lstStyle/>
          <a:p>
            <a:pPr algn="r">
              <a:lnSpc>
                <a:spcPct val="120000"/>
              </a:lnSpc>
            </a:pPr>
            <a:r>
              <a:rPr sz="1100">
                <a:latin typeface="+mj-lt"/>
              </a:rPr>
              <a:t>Ranuras para </a:t>
            </a:r>
            <a:r>
              <a:rPr sz="1100"/>
              <a:t>montacargas  
Levante o traslade la máquina de forma estable con un montacargas</a:t>
            </a:r>
          </a:p>
        </p:txBody>
      </p:sp>
      <p:sp>
        <p:nvSpPr>
          <p:cNvPr id="69" name="Rectangle 68">
            <a:extLst>
              <a:ext uri="{FF2B5EF4-FFF2-40B4-BE49-F238E27FC236}">
                <a16:creationId xmlns:a16="http://schemas.microsoft.com/office/drawing/2014/main" id="{8E5C5D8C-3875-2D67-DB16-0C778F8395F7}"/>
              </a:ext>
            </a:extLst>
          </p:cNvPr>
          <p:cNvSpPr/>
          <p:nvPr/>
        </p:nvSpPr>
        <p:spPr>
          <a:xfrm>
            <a:off x="8740141" y="1252891"/>
            <a:ext cx="2937815" cy="686213"/>
          </a:xfrm>
          <a:prstGeom prst="rect">
            <a:avLst/>
          </a:prstGeom>
        </p:spPr>
        <p:txBody>
          <a:bodyPr wrap="square" lIns="0" tIns="0" rIns="0" bIns="91440">
            <a:spAutoFit/>
          </a:bodyPr>
          <a:lstStyle/>
          <a:p>
            <a:pPr algn="r">
              <a:lnSpc>
                <a:spcPct val="120000"/>
              </a:lnSpc>
            </a:pPr>
            <a:r>
              <a:rPr sz="1100">
                <a:latin typeface="+mj-lt"/>
              </a:rPr>
              <a:t>Pistola Ergo 2000 con acoplamiento </a:t>
            </a:r>
            <a:r>
              <a:rPr sz="1100"/>
              <a:t>rápido. Concepto de accesorio ergonómico.</a:t>
            </a:r>
          </a:p>
          <a:p>
            <a:pPr algn="r">
              <a:lnSpc>
                <a:spcPct val="120000"/>
              </a:lnSpc>
            </a:pPr>
            <a:r>
              <a:rPr sz="1100"/>
              <a:t>mejora el manejo y reduce el esfuerzo</a:t>
            </a:r>
          </a:p>
        </p:txBody>
      </p:sp>
      <p:sp>
        <p:nvSpPr>
          <p:cNvPr id="73" name="Rectangle 72">
            <a:extLst>
              <a:ext uri="{FF2B5EF4-FFF2-40B4-BE49-F238E27FC236}">
                <a16:creationId xmlns:a16="http://schemas.microsoft.com/office/drawing/2014/main" id="{182612EE-8002-FE8F-7BBC-B726B7750FB0}"/>
              </a:ext>
            </a:extLst>
          </p:cNvPr>
          <p:cNvSpPr/>
          <p:nvPr/>
        </p:nvSpPr>
        <p:spPr>
          <a:xfrm>
            <a:off x="8550018" y="2213800"/>
            <a:ext cx="3127938" cy="483081"/>
          </a:xfrm>
          <a:prstGeom prst="rect">
            <a:avLst/>
          </a:prstGeom>
        </p:spPr>
        <p:txBody>
          <a:bodyPr wrap="square" lIns="0" tIns="0" rIns="0" bIns="91440">
            <a:spAutoFit/>
          </a:bodyPr>
          <a:lstStyle/>
          <a:p>
            <a:pPr algn="r">
              <a:lnSpc>
                <a:spcPct val="120000"/>
              </a:lnSpc>
            </a:pPr>
            <a:r>
              <a:rPr sz="1100">
                <a:latin typeface="+mj-lt"/>
              </a:rPr>
              <a:t>Interfaz de usuario actualizada.</a:t>
            </a:r>
            <a:r>
              <a:rPr sz="1100"/>
              <a:t> Dial sencillo para seleccionar entre modos de agua fría y caliente.</a:t>
            </a:r>
          </a:p>
        </p:txBody>
      </p:sp>
      <p:sp>
        <p:nvSpPr>
          <p:cNvPr id="75" name="Rectangle 74">
            <a:extLst>
              <a:ext uri="{FF2B5EF4-FFF2-40B4-BE49-F238E27FC236}">
                <a16:creationId xmlns:a16="http://schemas.microsoft.com/office/drawing/2014/main" id="{60172B11-AFF3-99BB-07B7-670E8F6BAAB9}"/>
              </a:ext>
            </a:extLst>
          </p:cNvPr>
          <p:cNvSpPr/>
          <p:nvPr/>
        </p:nvSpPr>
        <p:spPr>
          <a:xfrm>
            <a:off x="459416" y="1606367"/>
            <a:ext cx="2937816" cy="686213"/>
          </a:xfrm>
          <a:prstGeom prst="rect">
            <a:avLst/>
          </a:prstGeom>
        </p:spPr>
        <p:txBody>
          <a:bodyPr wrap="square" lIns="0" tIns="0" rIns="0" bIns="91440">
            <a:spAutoFit/>
          </a:bodyPr>
          <a:lstStyle/>
          <a:p>
            <a:pPr>
              <a:lnSpc>
                <a:spcPct val="120000"/>
              </a:lnSpc>
            </a:pPr>
            <a:r>
              <a:rPr sz="1100">
                <a:latin typeface="+mj-lt"/>
              </a:rPr>
              <a:t>Gancho giratorio para cable</a:t>
            </a:r>
          </a:p>
          <a:p>
            <a:pPr>
              <a:lnSpc>
                <a:spcPct val="120000"/>
              </a:lnSpc>
            </a:pPr>
            <a:r>
              <a:rPr sz="1100"/>
              <a:t>Gestión rápida y sencilla del cable de alimentación (sistema de giro) para una instalación y almacenamiento rápidos.</a:t>
            </a:r>
          </a:p>
        </p:txBody>
      </p:sp>
      <p:sp>
        <p:nvSpPr>
          <p:cNvPr id="76" name="Rectangle 75">
            <a:extLst>
              <a:ext uri="{FF2B5EF4-FFF2-40B4-BE49-F238E27FC236}">
                <a16:creationId xmlns:a16="http://schemas.microsoft.com/office/drawing/2014/main" id="{4B3AA4DE-74FC-04C3-37FE-DB8EEC183513}"/>
              </a:ext>
            </a:extLst>
          </p:cNvPr>
          <p:cNvSpPr/>
          <p:nvPr/>
        </p:nvSpPr>
        <p:spPr>
          <a:xfrm>
            <a:off x="488946" y="3895487"/>
            <a:ext cx="3438747" cy="483081"/>
          </a:xfrm>
          <a:prstGeom prst="rect">
            <a:avLst/>
          </a:prstGeom>
        </p:spPr>
        <p:txBody>
          <a:bodyPr wrap="square" lIns="0" tIns="0" rIns="0" bIns="91440">
            <a:spAutoFit/>
          </a:bodyPr>
          <a:lstStyle/>
          <a:p>
            <a:pPr>
              <a:lnSpc>
                <a:spcPct val="120000"/>
              </a:lnSpc>
            </a:pPr>
            <a:r>
              <a:rPr sz="1100">
                <a:latin typeface="+mj-lt"/>
              </a:rPr>
              <a:t>Freno de estacionamiento</a:t>
            </a:r>
          </a:p>
          <a:p>
            <a:pPr>
              <a:lnSpc>
                <a:spcPct val="120000"/>
              </a:lnSpc>
            </a:pPr>
            <a:r>
              <a:rPr sz="1100"/>
              <a:t>Estacionamiento fácil y freno de estacionamiento accionado con el pie</a:t>
            </a:r>
          </a:p>
        </p:txBody>
      </p:sp>
      <p:cxnSp>
        <p:nvCxnSpPr>
          <p:cNvPr id="109" name="Straight Arrow Connector 88">
            <a:extLst>
              <a:ext uri="{FF2B5EF4-FFF2-40B4-BE49-F238E27FC236}">
                <a16:creationId xmlns:a16="http://schemas.microsoft.com/office/drawing/2014/main" id="{529321CB-3437-75AB-F04B-9DF8563BBDD4}"/>
              </a:ext>
            </a:extLst>
          </p:cNvPr>
          <p:cNvCxnSpPr>
            <a:cxnSpLocks/>
          </p:cNvCxnSpPr>
          <p:nvPr/>
        </p:nvCxnSpPr>
        <p:spPr>
          <a:xfrm rot="10800000">
            <a:off x="5029705" y="1571655"/>
            <a:ext cx="6637185" cy="359199"/>
          </a:xfrm>
          <a:prstGeom prst="bentConnector3">
            <a:avLst>
              <a:gd name="adj1" fmla="val 3514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38">
            <a:extLst>
              <a:ext uri="{FF2B5EF4-FFF2-40B4-BE49-F238E27FC236}">
                <a16:creationId xmlns:a16="http://schemas.microsoft.com/office/drawing/2014/main" id="{89518F9F-5898-B493-8284-1DD384CDB242}"/>
              </a:ext>
            </a:extLst>
          </p:cNvPr>
          <p:cNvCxnSpPr>
            <a:cxnSpLocks/>
          </p:cNvCxnSpPr>
          <p:nvPr/>
        </p:nvCxnSpPr>
        <p:spPr>
          <a:xfrm flipV="1">
            <a:off x="488946" y="4072661"/>
            <a:ext cx="5121966" cy="1359174"/>
          </a:xfrm>
          <a:prstGeom prst="bentConnector3">
            <a:avLst>
              <a:gd name="adj1" fmla="val 92748"/>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9" name="Straight Arrow Connector 88">
            <a:extLst>
              <a:ext uri="{FF2B5EF4-FFF2-40B4-BE49-F238E27FC236}">
                <a16:creationId xmlns:a16="http://schemas.microsoft.com/office/drawing/2014/main" id="{723AFFFE-7949-C0D3-2CE6-ACFA16C3212A}"/>
              </a:ext>
            </a:extLst>
          </p:cNvPr>
          <p:cNvCxnSpPr>
            <a:cxnSpLocks/>
          </p:cNvCxnSpPr>
          <p:nvPr/>
        </p:nvCxnSpPr>
        <p:spPr>
          <a:xfrm>
            <a:off x="488946" y="3264132"/>
            <a:ext cx="3861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 name="Straight Arrow Connector 88">
            <a:extLst>
              <a:ext uri="{FF2B5EF4-FFF2-40B4-BE49-F238E27FC236}">
                <a16:creationId xmlns:a16="http://schemas.microsoft.com/office/drawing/2014/main" id="{9DDCD387-773F-9FD3-B6AD-4716226243C0}"/>
              </a:ext>
            </a:extLst>
          </p:cNvPr>
          <p:cNvCxnSpPr>
            <a:cxnSpLocks/>
          </p:cNvCxnSpPr>
          <p:nvPr/>
        </p:nvCxnSpPr>
        <p:spPr>
          <a:xfrm>
            <a:off x="453911" y="4396019"/>
            <a:ext cx="410781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88">
            <a:extLst>
              <a:ext uri="{FF2B5EF4-FFF2-40B4-BE49-F238E27FC236}">
                <a16:creationId xmlns:a16="http://schemas.microsoft.com/office/drawing/2014/main" id="{08E7BD30-FD4B-90AE-22E5-48FC9F19E180}"/>
              </a:ext>
            </a:extLst>
          </p:cNvPr>
          <p:cNvCxnSpPr>
            <a:cxnSpLocks/>
          </p:cNvCxnSpPr>
          <p:nvPr/>
        </p:nvCxnSpPr>
        <p:spPr>
          <a:xfrm>
            <a:off x="428298" y="2292580"/>
            <a:ext cx="392202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88">
            <a:extLst>
              <a:ext uri="{FF2B5EF4-FFF2-40B4-BE49-F238E27FC236}">
                <a16:creationId xmlns:a16="http://schemas.microsoft.com/office/drawing/2014/main" id="{9944A588-7E9D-E806-457C-F1D2CC3CCBFA}"/>
              </a:ext>
            </a:extLst>
          </p:cNvPr>
          <p:cNvCxnSpPr>
            <a:cxnSpLocks/>
          </p:cNvCxnSpPr>
          <p:nvPr/>
        </p:nvCxnSpPr>
        <p:spPr>
          <a:xfrm rot="10800000">
            <a:off x="6099498" y="2121872"/>
            <a:ext cx="5664204" cy="1791067"/>
          </a:xfrm>
          <a:prstGeom prst="bentConnector3">
            <a:avLst>
              <a:gd name="adj1" fmla="val 6578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88">
            <a:extLst>
              <a:ext uri="{FF2B5EF4-FFF2-40B4-BE49-F238E27FC236}">
                <a16:creationId xmlns:a16="http://schemas.microsoft.com/office/drawing/2014/main" id="{78889065-29D1-8F90-9ADE-6F9E7837E5B4}"/>
              </a:ext>
            </a:extLst>
          </p:cNvPr>
          <p:cNvCxnSpPr>
            <a:cxnSpLocks/>
          </p:cNvCxnSpPr>
          <p:nvPr/>
        </p:nvCxnSpPr>
        <p:spPr>
          <a:xfrm flipH="1" flipV="1">
            <a:off x="8157681" y="4869105"/>
            <a:ext cx="3606021" cy="2285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DA9B5EB6-B75E-5FEC-C5D2-7054C4A2EF44}"/>
              </a:ext>
            </a:extLst>
          </p:cNvPr>
          <p:cNvCxnSpPr>
            <a:cxnSpLocks/>
          </p:cNvCxnSpPr>
          <p:nvPr/>
        </p:nvCxnSpPr>
        <p:spPr>
          <a:xfrm rot="10800000">
            <a:off x="5572660" y="1761893"/>
            <a:ext cx="6157576" cy="943328"/>
          </a:xfrm>
          <a:prstGeom prst="bentConnector3">
            <a:avLst>
              <a:gd name="adj1" fmla="val 52939"/>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057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2413C647-FC33-6680-D080-A93A7BB90B02}"/>
              </a:ext>
            </a:extLst>
          </p:cNvPr>
          <p:cNvSpPr>
            <a:spLocks noGrp="1"/>
          </p:cNvSpPr>
          <p:nvPr>
            <p:ph type="body" sz="quarter" idx="17"/>
          </p:nvPr>
        </p:nvSpPr>
        <p:spPr/>
        <p:txBody>
          <a:bodyPr/>
          <a:lstStyle/>
          <a:p>
            <a:r>
              <a:t>Todas las máquinas estándar están equipadas con un dial sencillo que permite encender o apagar la máquina y seleccionar la temperatura deseada.</a:t>
            </a:r>
          </a:p>
          <a:p>
            <a:r>
              <a:t>Las máquinas Standard ofrecen las siguientes configuraciones de limpieza preestablecidas:</a:t>
            </a:r>
          </a:p>
          <a:p>
            <a:pPr lvl="1"/>
            <a:r>
              <a:t>Frío</a:t>
            </a:r>
          </a:p>
          <a:p>
            <a:pPr lvl="1"/>
            <a:r>
              <a:t>Agua caliente ajustable de 40 a 90 °C, en incrementos de 10 °C.</a:t>
            </a:r>
          </a:p>
          <a:p>
            <a:pPr marL="0" indent="0">
              <a:buNone/>
            </a:pPr>
            <a:endParaRPr lang="en-GB" dirty="0"/>
          </a:p>
          <a:p>
            <a:pPr lvl="1"/>
            <a:endParaRPr lang="en-GB" noProof="0" dirty="0"/>
          </a:p>
        </p:txBody>
      </p:sp>
      <p:sp>
        <p:nvSpPr>
          <p:cNvPr id="4" name="Pladsholder til sidefod 3">
            <a:extLst>
              <a:ext uri="{FF2B5EF4-FFF2-40B4-BE49-F238E27FC236}">
                <a16:creationId xmlns:a16="http://schemas.microsoft.com/office/drawing/2014/main" id="{501D848D-0BEF-0BD4-D6A3-57D2574C6ECF}"/>
              </a:ext>
            </a:extLst>
          </p:cNvPr>
          <p:cNvSpPr>
            <a:spLocks noGrp="1"/>
          </p:cNvSpPr>
          <p:nvPr>
            <p:ph type="ftr" sz="quarter" idx="21"/>
          </p:nvPr>
        </p:nvSpPr>
        <p:spPr/>
        <p:txBody>
          <a:bodyPr/>
          <a:lstStyle/>
          <a:p>
            <a:pPr algn="l"/>
            <a:r>
              <a:t>INFORMACIÓN CONFIDENCIAL DE LA EMPRESA</a:t>
            </a:r>
          </a:p>
        </p:txBody>
      </p:sp>
      <p:sp>
        <p:nvSpPr>
          <p:cNvPr id="5" name="Pladsholder til slidenummer 4">
            <a:extLst>
              <a:ext uri="{FF2B5EF4-FFF2-40B4-BE49-F238E27FC236}">
                <a16:creationId xmlns:a16="http://schemas.microsoft.com/office/drawing/2014/main" id="{10CCA8B1-78EC-CB7D-F38F-7D23DA5DE4D1}"/>
              </a:ext>
            </a:extLst>
          </p:cNvPr>
          <p:cNvSpPr>
            <a:spLocks noGrp="1"/>
          </p:cNvSpPr>
          <p:nvPr>
            <p:ph type="sldNum" sz="quarter" idx="22"/>
          </p:nvPr>
        </p:nvSpPr>
        <p:spPr/>
        <p:txBody>
          <a:bodyPr/>
          <a:lstStyle/>
          <a:p>
            <a:fld id="{6C385236-B7BA-4938-9EA6-6DEC8CA653D7}" type="slidenum">
              <a:rPr lang="en-GB" noProof="0" smtClean="0"/>
              <a:pPr/>
              <a:t>25</a:t>
            </a:fld>
            <a:endParaRPr lang="en-GB" noProof="0" dirty="0"/>
          </a:p>
        </p:txBody>
      </p:sp>
      <p:sp>
        <p:nvSpPr>
          <p:cNvPr id="6" name="Pladsholder til tekst 5">
            <a:extLst>
              <a:ext uri="{FF2B5EF4-FFF2-40B4-BE49-F238E27FC236}">
                <a16:creationId xmlns:a16="http://schemas.microsoft.com/office/drawing/2014/main" id="{57477601-6F42-D982-CEB4-375F0D427680}"/>
              </a:ext>
            </a:extLst>
          </p:cNvPr>
          <p:cNvSpPr>
            <a:spLocks noGrp="1"/>
          </p:cNvSpPr>
          <p:nvPr>
            <p:ph type="body" sz="quarter" idx="14"/>
          </p:nvPr>
        </p:nvSpPr>
        <p:spPr/>
        <p:txBody>
          <a:bodyPr/>
          <a:lstStyle/>
          <a:p>
            <a:r>
              <a:t>Interacción directa y eficiente con la máquina</a:t>
            </a:r>
          </a:p>
        </p:txBody>
      </p:sp>
      <p:sp>
        <p:nvSpPr>
          <p:cNvPr id="7" name="Titel 6">
            <a:extLst>
              <a:ext uri="{FF2B5EF4-FFF2-40B4-BE49-F238E27FC236}">
                <a16:creationId xmlns:a16="http://schemas.microsoft.com/office/drawing/2014/main" id="{1C60FE40-FBD5-925B-0EF9-BC5A14C666E5}"/>
              </a:ext>
            </a:extLst>
          </p:cNvPr>
          <p:cNvSpPr>
            <a:spLocks noGrp="1"/>
          </p:cNvSpPr>
          <p:nvPr>
            <p:ph type="title"/>
          </p:nvPr>
        </p:nvSpPr>
        <p:spPr/>
        <p:txBody>
          <a:bodyPr/>
          <a:lstStyle/>
          <a:p>
            <a:r>
              <a:t>Interfaz de usuario mejorada</a:t>
            </a:r>
          </a:p>
        </p:txBody>
      </p:sp>
      <p:pic>
        <p:nvPicPr>
          <p:cNvPr id="9" name="Picture 2" descr="Et billede, der indeholder apparat/anordning&#10;&#10;AI-genereret indhold kan være ukorrekt.">
            <a:extLst>
              <a:ext uri="{FF2B5EF4-FFF2-40B4-BE49-F238E27FC236}">
                <a16:creationId xmlns:a16="http://schemas.microsoft.com/office/drawing/2014/main" id="{16BB079D-B407-CAC4-3D2E-07F800B5938B}"/>
              </a:ext>
            </a:extLst>
          </p:cNvPr>
          <p:cNvPicPr>
            <a:picLocks noChangeAspect="1"/>
          </p:cNvPicPr>
          <p:nvPr/>
        </p:nvPicPr>
        <p:blipFill>
          <a:blip r:embed="rId2" cstate="hqprint">
            <a:extLst>
              <a:ext uri="{28A0092B-C50C-407E-A947-70E740481C1C}">
                <a14:useLocalDpi xmlns:a14="http://schemas.microsoft.com/office/drawing/2010/main"/>
              </a:ext>
            </a:extLst>
          </a:blip>
          <a:srcRect t="1556" b="1556"/>
          <a:stretch/>
        </p:blipFill>
        <p:spPr>
          <a:xfrm>
            <a:off x="646930" y="1123581"/>
            <a:ext cx="4723242" cy="4610837"/>
          </a:xfrm>
          <a:prstGeom prst="rect">
            <a:avLst/>
          </a:prstGeom>
          <a:solidFill>
            <a:schemeClr val="bg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139700" sx="102000" sy="102000" algn="ctr" rotWithShape="0">
              <a:schemeClr val="bg2">
                <a:alpha val="30000"/>
              </a:schemeClr>
            </a:outerShdw>
          </a:effectLst>
        </p:spPr>
      </p:pic>
    </p:spTree>
    <p:extLst>
      <p:ext uri="{BB962C8B-B14F-4D97-AF65-F5344CB8AC3E}">
        <p14:creationId xmlns:p14="http://schemas.microsoft.com/office/powerpoint/2010/main" val="22510659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r>
              <a:t>5</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r>
              <a:t>Eficiencia</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fld id="{6C385236-B7BA-4938-9EA6-6DEC8CA653D7}" type="slidenum">
              <a:rPr lang="en-GB" noProof="0" smtClean="0"/>
              <a:pPr/>
              <a:t>26</a:t>
            </a:fld>
            <a:endParaRPr lang="en-GB" noProof="0" dirty="0"/>
          </a:p>
        </p:txBody>
      </p:sp>
    </p:spTree>
    <p:extLst>
      <p:ext uri="{BB962C8B-B14F-4D97-AF65-F5344CB8AC3E}">
        <p14:creationId xmlns:p14="http://schemas.microsoft.com/office/powerpoint/2010/main" val="76932593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B56A5E8-FF06-8AEE-DEDC-72B1D1320145}"/>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6" name="Slide Number Placeholder 5">
            <a:extLst>
              <a:ext uri="{FF2B5EF4-FFF2-40B4-BE49-F238E27FC236}">
                <a16:creationId xmlns:a16="http://schemas.microsoft.com/office/drawing/2014/main" id="{4190DA94-54B9-1183-7942-1A55230AC8E1}"/>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27</a:t>
            </a:fld>
            <a:endParaRPr lang="en-GB" noProof="0" dirty="0"/>
          </a:p>
        </p:txBody>
      </p:sp>
      <p:sp>
        <p:nvSpPr>
          <p:cNvPr id="8" name="Content Placeholder 7">
            <a:extLst>
              <a:ext uri="{FF2B5EF4-FFF2-40B4-BE49-F238E27FC236}">
                <a16:creationId xmlns:a16="http://schemas.microsoft.com/office/drawing/2014/main" id="{3B0CDEAA-632A-84CC-1E87-F0EF0E2DBC5B}"/>
              </a:ext>
            </a:extLst>
          </p:cNvPr>
          <p:cNvSpPr>
            <a:spLocks noGrp="1"/>
          </p:cNvSpPr>
          <p:nvPr>
            <p:ph sz="quarter" idx="18"/>
          </p:nvPr>
        </p:nvSpPr>
        <p:spPr>
          <a:xfrm>
            <a:off x="479425" y="1429107"/>
            <a:ext cx="5453230" cy="2575295"/>
          </a:xfrm>
          <a:effectLst/>
        </p:spPr>
        <p:txBody>
          <a:bodyPr lIns="0" tIns="0" rIns="0" bIns="0">
            <a:normAutofit/>
          </a:bodyPr>
          <a:lstStyle/>
          <a:p>
            <a:pPr marL="0" indent="0">
              <a:buNone/>
            </a:pPr>
            <a:r>
              <a:t>Los ajustes preestablecidos están diseñados para cubrir la mayoría de las tareas de limpieza con eficiencia.</a:t>
            </a:r>
          </a:p>
          <a:p>
            <a:pPr marL="0" indent="0">
              <a:buNone/>
            </a:pPr>
            <a:endParaRPr lang="en-GB" noProof="0" dirty="0"/>
          </a:p>
          <a:p>
            <a:pPr marL="342900" indent="-342900">
              <a:buFont typeface="+mj-lt"/>
              <a:buAutoNum type="arabicPeriod"/>
            </a:pPr>
            <a:r>
              <a:t>Detergente (frío y dosificación al 3%)*</a:t>
            </a:r>
          </a:p>
          <a:p>
            <a:pPr marL="342900" indent="-342900">
              <a:buFont typeface="+mj-lt"/>
              <a:buAutoNum type="arabicPeriod"/>
            </a:pPr>
            <a:r>
              <a:t>Limpieza en frío</a:t>
            </a:r>
          </a:p>
          <a:p>
            <a:pPr marL="342900" indent="-342900">
              <a:buFont typeface="+mj-lt"/>
              <a:buAutoNum type="arabicPeriod"/>
            </a:pPr>
            <a:r>
              <a:t>Limpieza inteligente (45°): ideal para la mayoría de las tareas</a:t>
            </a:r>
          </a:p>
          <a:p>
            <a:pPr marL="342900" indent="-342900">
              <a:buFont typeface="+mj-lt"/>
              <a:buAutoNum type="arabicPeriod"/>
            </a:pPr>
            <a:r>
              <a:t>Limpieza con agua caliente (60 °C)*</a:t>
            </a:r>
          </a:p>
          <a:p>
            <a:pPr marL="342900" indent="-342900">
              <a:buFont typeface="+mj-lt"/>
              <a:buAutoNum type="arabicPeriod"/>
            </a:pPr>
            <a:r>
              <a:t>Limpieza con vapor a 150 °C*</a:t>
            </a:r>
          </a:p>
        </p:txBody>
      </p:sp>
      <p:sp>
        <p:nvSpPr>
          <p:cNvPr id="7" name="Text Placeholder 6">
            <a:extLst>
              <a:ext uri="{FF2B5EF4-FFF2-40B4-BE49-F238E27FC236}">
                <a16:creationId xmlns:a16="http://schemas.microsoft.com/office/drawing/2014/main" id="{467A0345-F82C-08E8-E42A-1BABFC63FE2A}"/>
              </a:ext>
            </a:extLst>
          </p:cNvPr>
          <p:cNvSpPr>
            <a:spLocks noGrp="1"/>
          </p:cNvSpPr>
          <p:nvPr>
            <p:ph type="body" sz="quarter" idx="14"/>
          </p:nvPr>
        </p:nvSpPr>
        <p:spPr>
          <a:xfrm>
            <a:off x="475521" y="873877"/>
            <a:ext cx="11235102" cy="376456"/>
          </a:xfrm>
        </p:spPr>
        <p:txBody>
          <a:bodyPr>
            <a:normAutofit/>
          </a:bodyPr>
          <a:lstStyle/>
          <a:p>
            <a:r>
              <a:t>Ahorre energía, combustible y detergente</a:t>
            </a:r>
          </a:p>
        </p:txBody>
      </p:sp>
      <p:sp>
        <p:nvSpPr>
          <p:cNvPr id="4" name="Title 3">
            <a:extLst>
              <a:ext uri="{FF2B5EF4-FFF2-40B4-BE49-F238E27FC236}">
                <a16:creationId xmlns:a16="http://schemas.microsoft.com/office/drawing/2014/main" id="{40941D1D-2786-BBED-B956-5AD31936338E}"/>
              </a:ext>
            </a:extLst>
          </p:cNvPr>
          <p:cNvSpPr>
            <a:spLocks noGrp="1"/>
          </p:cNvSpPr>
          <p:nvPr>
            <p:ph type="title"/>
          </p:nvPr>
        </p:nvSpPr>
        <p:spPr>
          <a:xfrm>
            <a:off x="479425" y="494490"/>
            <a:ext cx="11233150" cy="388013"/>
          </a:xfrm>
        </p:spPr>
        <p:txBody>
          <a:bodyPr anchor="t">
            <a:noAutofit/>
          </a:bodyPr>
          <a:lstStyle/>
          <a:p>
            <a:r>
              <a:t>Ajustes predefinidos para una limpieza eficiente</a:t>
            </a:r>
          </a:p>
        </p:txBody>
      </p:sp>
      <p:sp>
        <p:nvSpPr>
          <p:cNvPr id="3" name="Pladsholder til indhold 3">
            <a:extLst>
              <a:ext uri="{FF2B5EF4-FFF2-40B4-BE49-F238E27FC236}">
                <a16:creationId xmlns:a16="http://schemas.microsoft.com/office/drawing/2014/main" id="{D69503F9-5E21-72A1-7FEE-16F495B346B8}"/>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sz="900"/>
              <a:t>Preajustes rápidos: mantenga presionado el botón del mando durante 2 segundos para ajustar la temperatura y el detergente.</a:t>
            </a:r>
            <a:endParaRPr lang="en-GB" sz="900" noProof="0" dirty="0"/>
          </a:p>
        </p:txBody>
      </p:sp>
      <p:pic>
        <p:nvPicPr>
          <p:cNvPr id="2" name="Picture 1" descr="A screen shot of a device&#10;&#10;Description automatically generated">
            <a:extLst>
              <a:ext uri="{FF2B5EF4-FFF2-40B4-BE49-F238E27FC236}">
                <a16:creationId xmlns:a16="http://schemas.microsoft.com/office/drawing/2014/main" id="{D8FF8C1B-3BDB-482D-9FB0-2A6615C5465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069980" y="1429107"/>
            <a:ext cx="5640643" cy="3217321"/>
          </a:xfrm>
          <a:prstGeom prst="rect">
            <a:avLst/>
          </a:prstGeom>
        </p:spPr>
      </p:pic>
    </p:spTree>
    <p:extLst>
      <p:ext uri="{BB962C8B-B14F-4D97-AF65-F5344CB8AC3E}">
        <p14:creationId xmlns:p14="http://schemas.microsoft.com/office/powerpoint/2010/main" val="33944404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BEC22-7496-4A0F-EEC1-FC3D246BEB0F}"/>
            </a:ext>
          </a:extLst>
        </p:cNvPr>
        <p:cNvGrpSpPr/>
        <p:nvPr/>
      </p:nvGrpSpPr>
      <p:grpSpPr>
        <a:xfrm>
          <a:off x="0" y="0"/>
          <a:ext cx="0" cy="0"/>
          <a:chOff x="0" y="0"/>
          <a:chExt cx="0" cy="0"/>
        </a:xfrm>
      </p:grpSpPr>
      <p:pic>
        <p:nvPicPr>
          <p:cNvPr id="47" name="Picture 46">
            <a:extLst>
              <a:ext uri="{FF2B5EF4-FFF2-40B4-BE49-F238E27FC236}">
                <a16:creationId xmlns:a16="http://schemas.microsoft.com/office/drawing/2014/main" id="{1E62839F-C336-B885-2CF0-00E695401B50}"/>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551808" y="2083144"/>
            <a:ext cx="3776441" cy="3504762"/>
          </a:xfrm>
          <a:prstGeom prst="rect">
            <a:avLst/>
          </a:prstGeom>
        </p:spPr>
      </p:pic>
      <p:graphicFrame>
        <p:nvGraphicFramePr>
          <p:cNvPr id="22" name="Object 21" hidden="1">
            <a:extLst>
              <a:ext uri="{FF2B5EF4-FFF2-40B4-BE49-F238E27FC236}">
                <a16:creationId xmlns:a16="http://schemas.microsoft.com/office/drawing/2014/main" id="{46394FBB-7282-6DD4-7A8E-A7A1870133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2" name="Object 21" hidden="1">
                        <a:extLst>
                          <a:ext uri="{FF2B5EF4-FFF2-40B4-BE49-F238E27FC236}">
                            <a16:creationId xmlns:a16="http://schemas.microsoft.com/office/drawing/2014/main" id="{46394FBB-7282-6DD4-7A8E-A7A1870133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EBCEE471-80AE-D34D-182C-0E0B35A78EB1}"/>
              </a:ext>
            </a:extLst>
          </p:cNvPr>
          <p:cNvSpPr>
            <a:spLocks noGrp="1"/>
          </p:cNvSpPr>
          <p:nvPr>
            <p:ph type="sldNum" sz="quarter" idx="20"/>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lang="en-GB"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28</a:t>
            </a:fld>
            <a:endParaRPr kumimoji="0" lang="en-GB"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19" name="Text Placeholder 18">
            <a:extLst>
              <a:ext uri="{FF2B5EF4-FFF2-40B4-BE49-F238E27FC236}">
                <a16:creationId xmlns:a16="http://schemas.microsoft.com/office/drawing/2014/main" id="{2EE5729E-103C-3554-38CC-D081AAFC7BF5}"/>
              </a:ext>
            </a:extLst>
          </p:cNvPr>
          <p:cNvSpPr>
            <a:spLocks noGrp="1"/>
          </p:cNvSpPr>
          <p:nvPr>
            <p:ph type="body" sz="quarter" idx="14"/>
          </p:nvPr>
        </p:nvSpPr>
        <p:spPr/>
        <p:txBody>
          <a:bodyPr vert="horz" lIns="0" tIns="0" rIns="0" bIns="0" rtlCol="0" anchor="t">
            <a:noAutofit/>
          </a:bodyPr>
          <a:lstStyle/>
          <a:p>
            <a:r>
              <a:t>Caldera de Alta Eficiencia Energética vs. Caldera EcoPower</a:t>
            </a:r>
            <a:endParaRPr lang="en-GB" noProof="0" dirty="0"/>
          </a:p>
        </p:txBody>
      </p:sp>
      <p:sp>
        <p:nvSpPr>
          <p:cNvPr id="18" name="Title 17">
            <a:extLst>
              <a:ext uri="{FF2B5EF4-FFF2-40B4-BE49-F238E27FC236}">
                <a16:creationId xmlns:a16="http://schemas.microsoft.com/office/drawing/2014/main" id="{513B0B09-289B-7FE4-340F-CB922266F339}"/>
              </a:ext>
            </a:extLst>
          </p:cNvPr>
          <p:cNvSpPr>
            <a:spLocks noGrp="1"/>
          </p:cNvSpPr>
          <p:nvPr>
            <p:ph type="title"/>
          </p:nvPr>
        </p:nvSpPr>
        <p:spPr/>
        <p:txBody>
          <a:bodyPr vert="horz"/>
          <a:lstStyle/>
          <a:p>
            <a:r>
              <a:rPr lang="en-GB" dirty="0" err="1"/>
              <a:t>Diseñada</a:t>
            </a:r>
            <a:r>
              <a:rPr dirty="0"/>
              <a:t> para la </a:t>
            </a:r>
            <a:r>
              <a:rPr dirty="0" err="1"/>
              <a:t>eficiencia</a:t>
            </a:r>
            <a:endParaRPr dirty="0"/>
          </a:p>
        </p:txBody>
      </p:sp>
      <p:sp>
        <p:nvSpPr>
          <p:cNvPr id="2" name="TextBox 1">
            <a:extLst>
              <a:ext uri="{FF2B5EF4-FFF2-40B4-BE49-F238E27FC236}">
                <a16:creationId xmlns:a16="http://schemas.microsoft.com/office/drawing/2014/main" id="{3BE75F18-CB35-8519-FA82-C5655F2A8249}"/>
              </a:ext>
            </a:extLst>
          </p:cNvPr>
          <p:cNvSpPr txBox="1"/>
          <p:nvPr/>
        </p:nvSpPr>
        <p:spPr>
          <a:xfrm>
            <a:off x="6867175" y="5522559"/>
            <a:ext cx="2786872" cy="255722"/>
          </a:xfrm>
          <a:prstGeom prst="rect">
            <a:avLst/>
          </a:prstGeom>
          <a:noFill/>
        </p:spPr>
        <p:txBody>
          <a:bodyPr wrap="square" lIns="0" tIns="0" rIns="0" bIns="0" rtlCol="0" anchor="t">
            <a:spAutoFit/>
          </a:bodyPr>
          <a:lstStyle/>
          <a:p>
            <a:pPr algn="ctr"/>
            <a:r>
              <a:rPr sz="1600"/>
              <a:t>Caldera de Alta Eficiencia Energética</a:t>
            </a:r>
          </a:p>
        </p:txBody>
      </p:sp>
      <p:sp>
        <p:nvSpPr>
          <p:cNvPr id="3" name="TextBox 2">
            <a:extLst>
              <a:ext uri="{FF2B5EF4-FFF2-40B4-BE49-F238E27FC236}">
                <a16:creationId xmlns:a16="http://schemas.microsoft.com/office/drawing/2014/main" id="{2EE23494-806A-1F81-6E51-2842C0142050}"/>
              </a:ext>
            </a:extLst>
          </p:cNvPr>
          <p:cNvSpPr txBox="1"/>
          <p:nvPr/>
        </p:nvSpPr>
        <p:spPr>
          <a:xfrm>
            <a:off x="1247017" y="5522559"/>
            <a:ext cx="2568956" cy="255722"/>
          </a:xfrm>
          <a:prstGeom prst="rect">
            <a:avLst/>
          </a:prstGeom>
          <a:noFill/>
        </p:spPr>
        <p:txBody>
          <a:bodyPr wrap="square" lIns="0" tIns="0" rIns="0" bIns="0" rtlCol="0" anchor="t">
            <a:spAutoFit/>
          </a:bodyPr>
          <a:lstStyle/>
          <a:p>
            <a:pPr algn="ctr"/>
            <a:r>
              <a:rPr sz="1600"/>
              <a:t>Caldera EcoPower™</a:t>
            </a:r>
          </a:p>
        </p:txBody>
      </p:sp>
      <p:pic>
        <p:nvPicPr>
          <p:cNvPr id="15" name="Picture 14">
            <a:extLst>
              <a:ext uri="{FF2B5EF4-FFF2-40B4-BE49-F238E27FC236}">
                <a16:creationId xmlns:a16="http://schemas.microsoft.com/office/drawing/2014/main" id="{DFC48CF4-EE1C-9E8B-BD7D-67F955E471D0}"/>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7266872" y="2314379"/>
            <a:ext cx="2713290" cy="3097751"/>
          </a:xfrm>
          <a:prstGeom prst="rect">
            <a:avLst/>
          </a:prstGeom>
        </p:spPr>
      </p:pic>
      <p:cxnSp>
        <p:nvCxnSpPr>
          <p:cNvPr id="16" name="Straight Arrow Connector 38">
            <a:extLst>
              <a:ext uri="{FF2B5EF4-FFF2-40B4-BE49-F238E27FC236}">
                <a16:creationId xmlns:a16="http://schemas.microsoft.com/office/drawing/2014/main" id="{3D702310-E9D5-BA09-BA99-6B06F578944A}"/>
              </a:ext>
            </a:extLst>
          </p:cNvPr>
          <p:cNvCxnSpPr>
            <a:cxnSpLocks/>
          </p:cNvCxnSpPr>
          <p:nvPr/>
        </p:nvCxnSpPr>
        <p:spPr>
          <a:xfrm>
            <a:off x="488946" y="2244432"/>
            <a:ext cx="1965753" cy="649206"/>
          </a:xfrm>
          <a:prstGeom prst="bentConnector3">
            <a:avLst>
              <a:gd name="adj1" fmla="val 9975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Arrow Connector 38">
            <a:extLst>
              <a:ext uri="{FF2B5EF4-FFF2-40B4-BE49-F238E27FC236}">
                <a16:creationId xmlns:a16="http://schemas.microsoft.com/office/drawing/2014/main" id="{B2BCF766-7D1C-8220-622B-81B9022386E6}"/>
              </a:ext>
            </a:extLst>
          </p:cNvPr>
          <p:cNvCxnSpPr>
            <a:cxnSpLocks/>
          </p:cNvCxnSpPr>
          <p:nvPr/>
        </p:nvCxnSpPr>
        <p:spPr>
          <a:xfrm flipV="1">
            <a:off x="488946" y="2893638"/>
            <a:ext cx="1613685" cy="642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8">
            <a:extLst>
              <a:ext uri="{FF2B5EF4-FFF2-40B4-BE49-F238E27FC236}">
                <a16:creationId xmlns:a16="http://schemas.microsoft.com/office/drawing/2014/main" id="{C8A82EDB-D345-E713-15E8-6368E2F9698D}"/>
              </a:ext>
            </a:extLst>
          </p:cNvPr>
          <p:cNvCxnSpPr>
            <a:cxnSpLocks/>
          </p:cNvCxnSpPr>
          <p:nvPr/>
        </p:nvCxnSpPr>
        <p:spPr>
          <a:xfrm flipV="1">
            <a:off x="488946" y="3267771"/>
            <a:ext cx="1965753" cy="308275"/>
          </a:xfrm>
          <a:prstGeom prst="bentConnector3">
            <a:avLst>
              <a:gd name="adj1" fmla="val 6368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8">
            <a:extLst>
              <a:ext uri="{FF2B5EF4-FFF2-40B4-BE49-F238E27FC236}">
                <a16:creationId xmlns:a16="http://schemas.microsoft.com/office/drawing/2014/main" id="{750CD292-D697-4882-9666-30EA916512DF}"/>
              </a:ext>
            </a:extLst>
          </p:cNvPr>
          <p:cNvCxnSpPr>
            <a:cxnSpLocks/>
          </p:cNvCxnSpPr>
          <p:nvPr/>
        </p:nvCxnSpPr>
        <p:spPr>
          <a:xfrm>
            <a:off x="488946" y="5117493"/>
            <a:ext cx="14229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Arrow Connector 38">
            <a:extLst>
              <a:ext uri="{FF2B5EF4-FFF2-40B4-BE49-F238E27FC236}">
                <a16:creationId xmlns:a16="http://schemas.microsoft.com/office/drawing/2014/main" id="{29789E81-2E39-2F50-8E15-AC9DE0FE076B}"/>
              </a:ext>
            </a:extLst>
          </p:cNvPr>
          <p:cNvCxnSpPr>
            <a:cxnSpLocks/>
          </p:cNvCxnSpPr>
          <p:nvPr/>
        </p:nvCxnSpPr>
        <p:spPr>
          <a:xfrm rot="10800000" flipV="1">
            <a:off x="3141334" y="2581835"/>
            <a:ext cx="759077" cy="341142"/>
          </a:xfrm>
          <a:prstGeom prst="bentConnector3">
            <a:avLst>
              <a:gd name="adj1" fmla="val 9884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8" name="Straight Arrow Connector 38">
            <a:extLst>
              <a:ext uri="{FF2B5EF4-FFF2-40B4-BE49-F238E27FC236}">
                <a16:creationId xmlns:a16="http://schemas.microsoft.com/office/drawing/2014/main" id="{D0336A0C-06D2-B0D2-4764-0BDA9F165B8D}"/>
              </a:ext>
            </a:extLst>
          </p:cNvPr>
          <p:cNvCxnSpPr>
            <a:cxnSpLocks/>
          </p:cNvCxnSpPr>
          <p:nvPr/>
        </p:nvCxnSpPr>
        <p:spPr>
          <a:xfrm flipV="1">
            <a:off x="3965720" y="4132472"/>
            <a:ext cx="1" cy="57644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E068D015-2946-F481-CFC3-AF87551A03AA}"/>
              </a:ext>
            </a:extLst>
          </p:cNvPr>
          <p:cNvSpPr/>
          <p:nvPr/>
        </p:nvSpPr>
        <p:spPr>
          <a:xfrm>
            <a:off x="479421" y="1965058"/>
            <a:ext cx="1535193" cy="279948"/>
          </a:xfrm>
          <a:prstGeom prst="rect">
            <a:avLst/>
          </a:prstGeom>
        </p:spPr>
        <p:txBody>
          <a:bodyPr wrap="square" lIns="0" tIns="0" rIns="0" bIns="91440">
            <a:spAutoFit/>
          </a:bodyPr>
          <a:lstStyle/>
          <a:p>
            <a:pPr>
              <a:lnSpc>
                <a:spcPct val="120000"/>
              </a:lnSpc>
            </a:pPr>
            <a:r>
              <a:rPr sz="1100"/>
              <a:t>Salida de gases</a:t>
            </a:r>
          </a:p>
        </p:txBody>
      </p:sp>
      <p:sp>
        <p:nvSpPr>
          <p:cNvPr id="54" name="Rectangle 53">
            <a:extLst>
              <a:ext uri="{FF2B5EF4-FFF2-40B4-BE49-F238E27FC236}">
                <a16:creationId xmlns:a16="http://schemas.microsoft.com/office/drawing/2014/main" id="{76567341-06CC-8C69-3740-8F392F08CD0C}"/>
              </a:ext>
            </a:extLst>
          </p:cNvPr>
          <p:cNvSpPr/>
          <p:nvPr/>
        </p:nvSpPr>
        <p:spPr>
          <a:xfrm>
            <a:off x="475521" y="2464094"/>
            <a:ext cx="1148896" cy="279948"/>
          </a:xfrm>
          <a:prstGeom prst="rect">
            <a:avLst/>
          </a:prstGeom>
        </p:spPr>
        <p:txBody>
          <a:bodyPr wrap="square" lIns="0" tIns="0" rIns="0" bIns="91440">
            <a:spAutoFit/>
          </a:bodyPr>
          <a:lstStyle/>
          <a:p>
            <a:pPr>
              <a:lnSpc>
                <a:spcPct val="120000"/>
              </a:lnSpc>
            </a:pPr>
            <a:r>
              <a:rPr sz="1100" dirty="0"/>
              <a:t>Salida de </a:t>
            </a:r>
            <a:r>
              <a:rPr sz="1100" dirty="0" err="1"/>
              <a:t>agua</a:t>
            </a:r>
            <a:r>
              <a:rPr sz="1100" dirty="0"/>
              <a:t> caliente</a:t>
            </a:r>
          </a:p>
        </p:txBody>
      </p:sp>
      <p:sp>
        <p:nvSpPr>
          <p:cNvPr id="57" name="Rectangle 56">
            <a:extLst>
              <a:ext uri="{FF2B5EF4-FFF2-40B4-BE49-F238E27FC236}">
                <a16:creationId xmlns:a16="http://schemas.microsoft.com/office/drawing/2014/main" id="{239555AC-F8C6-CD03-45D9-6F42A6D5D463}"/>
              </a:ext>
            </a:extLst>
          </p:cNvPr>
          <p:cNvSpPr/>
          <p:nvPr/>
        </p:nvSpPr>
        <p:spPr>
          <a:xfrm>
            <a:off x="479421" y="3292465"/>
            <a:ext cx="1535193" cy="279948"/>
          </a:xfrm>
          <a:prstGeom prst="rect">
            <a:avLst/>
          </a:prstGeom>
        </p:spPr>
        <p:txBody>
          <a:bodyPr wrap="square" lIns="0" tIns="0" rIns="0" bIns="91440">
            <a:spAutoFit/>
          </a:bodyPr>
          <a:lstStyle/>
          <a:p>
            <a:pPr>
              <a:lnSpc>
                <a:spcPct val="120000"/>
              </a:lnSpc>
            </a:pPr>
            <a:r>
              <a:rPr sz="1100"/>
              <a:t>Boquilla de aceite</a:t>
            </a:r>
          </a:p>
        </p:txBody>
      </p:sp>
      <p:sp>
        <p:nvSpPr>
          <p:cNvPr id="58" name="Rectangle 57">
            <a:extLst>
              <a:ext uri="{FF2B5EF4-FFF2-40B4-BE49-F238E27FC236}">
                <a16:creationId xmlns:a16="http://schemas.microsoft.com/office/drawing/2014/main" id="{293D8686-A155-E4D2-6092-B40F023AE0AB}"/>
              </a:ext>
            </a:extLst>
          </p:cNvPr>
          <p:cNvSpPr/>
          <p:nvPr/>
        </p:nvSpPr>
        <p:spPr>
          <a:xfrm>
            <a:off x="479422" y="4837379"/>
            <a:ext cx="982640" cy="279948"/>
          </a:xfrm>
          <a:prstGeom prst="rect">
            <a:avLst/>
          </a:prstGeom>
        </p:spPr>
        <p:txBody>
          <a:bodyPr wrap="square" lIns="0" tIns="0" rIns="0" bIns="91440">
            <a:spAutoFit/>
          </a:bodyPr>
          <a:lstStyle/>
          <a:p>
            <a:pPr>
              <a:lnSpc>
                <a:spcPct val="120000"/>
              </a:lnSpc>
            </a:pPr>
            <a:r>
              <a:rPr sz="1100"/>
              <a:t>Aislamiento</a:t>
            </a:r>
          </a:p>
        </p:txBody>
      </p:sp>
      <p:sp>
        <p:nvSpPr>
          <p:cNvPr id="59" name="Rectangle 58">
            <a:extLst>
              <a:ext uri="{FF2B5EF4-FFF2-40B4-BE49-F238E27FC236}">
                <a16:creationId xmlns:a16="http://schemas.microsoft.com/office/drawing/2014/main" id="{814C5F87-E053-90CC-2324-0F77F41765AD}"/>
              </a:ext>
            </a:extLst>
          </p:cNvPr>
          <p:cNvSpPr/>
          <p:nvPr/>
        </p:nvSpPr>
        <p:spPr>
          <a:xfrm>
            <a:off x="3692890" y="4759576"/>
            <a:ext cx="982640" cy="279948"/>
          </a:xfrm>
          <a:prstGeom prst="rect">
            <a:avLst/>
          </a:prstGeom>
        </p:spPr>
        <p:txBody>
          <a:bodyPr wrap="square" lIns="0" tIns="0" rIns="0" bIns="91440">
            <a:spAutoFit/>
          </a:bodyPr>
          <a:lstStyle/>
          <a:p>
            <a:pPr>
              <a:lnSpc>
                <a:spcPct val="120000"/>
              </a:lnSpc>
            </a:pPr>
            <a:r>
              <a:rPr sz="1100"/>
              <a:t>Unidad de ventilador</a:t>
            </a:r>
          </a:p>
        </p:txBody>
      </p:sp>
      <p:sp>
        <p:nvSpPr>
          <p:cNvPr id="60" name="Rectangle 59">
            <a:extLst>
              <a:ext uri="{FF2B5EF4-FFF2-40B4-BE49-F238E27FC236}">
                <a16:creationId xmlns:a16="http://schemas.microsoft.com/office/drawing/2014/main" id="{89949CE6-52EC-958E-059A-AF56B084B030}"/>
              </a:ext>
            </a:extLst>
          </p:cNvPr>
          <p:cNvSpPr/>
          <p:nvPr/>
        </p:nvSpPr>
        <p:spPr>
          <a:xfrm>
            <a:off x="3140338" y="2092984"/>
            <a:ext cx="1084484" cy="483081"/>
          </a:xfrm>
          <a:prstGeom prst="rect">
            <a:avLst/>
          </a:prstGeom>
        </p:spPr>
        <p:txBody>
          <a:bodyPr wrap="square" lIns="0" tIns="0" rIns="0" bIns="91440">
            <a:spAutoFit/>
          </a:bodyPr>
          <a:lstStyle/>
          <a:p>
            <a:pPr>
              <a:lnSpc>
                <a:spcPct val="120000"/>
              </a:lnSpc>
            </a:pPr>
            <a:r>
              <a:rPr sz="1100"/>
              <a:t>Agua fría del grifo utilizada por la bomba</a:t>
            </a:r>
          </a:p>
        </p:txBody>
      </p:sp>
      <p:cxnSp>
        <p:nvCxnSpPr>
          <p:cNvPr id="63" name="Straight Arrow Connector 38">
            <a:extLst>
              <a:ext uri="{FF2B5EF4-FFF2-40B4-BE49-F238E27FC236}">
                <a16:creationId xmlns:a16="http://schemas.microsoft.com/office/drawing/2014/main" id="{26F7D493-AE58-E580-D6AC-6D8DAA6358A3}"/>
              </a:ext>
            </a:extLst>
          </p:cNvPr>
          <p:cNvCxnSpPr>
            <a:cxnSpLocks/>
          </p:cNvCxnSpPr>
          <p:nvPr/>
        </p:nvCxnSpPr>
        <p:spPr>
          <a:xfrm>
            <a:off x="5973334" y="2244432"/>
            <a:ext cx="1965753" cy="562336"/>
          </a:xfrm>
          <a:prstGeom prst="bentConnector3">
            <a:avLst>
              <a:gd name="adj1" fmla="val 9975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BC99CD4C-5FE2-3335-687C-828307738C5B}"/>
              </a:ext>
            </a:extLst>
          </p:cNvPr>
          <p:cNvSpPr/>
          <p:nvPr/>
        </p:nvSpPr>
        <p:spPr>
          <a:xfrm>
            <a:off x="5963809" y="1965058"/>
            <a:ext cx="1535193" cy="279948"/>
          </a:xfrm>
          <a:prstGeom prst="rect">
            <a:avLst/>
          </a:prstGeom>
        </p:spPr>
        <p:txBody>
          <a:bodyPr wrap="square" lIns="0" tIns="0" rIns="0" bIns="91440">
            <a:spAutoFit/>
          </a:bodyPr>
          <a:lstStyle/>
          <a:p>
            <a:pPr>
              <a:lnSpc>
                <a:spcPct val="120000"/>
              </a:lnSpc>
            </a:pPr>
            <a:r>
              <a:rPr sz="1100"/>
              <a:t>Salida de gases</a:t>
            </a:r>
          </a:p>
        </p:txBody>
      </p:sp>
      <p:sp>
        <p:nvSpPr>
          <p:cNvPr id="69" name="Rectangle 68">
            <a:extLst>
              <a:ext uri="{FF2B5EF4-FFF2-40B4-BE49-F238E27FC236}">
                <a16:creationId xmlns:a16="http://schemas.microsoft.com/office/drawing/2014/main" id="{840BD2FE-3BB4-2AA9-571D-7F6B23341245}"/>
              </a:ext>
            </a:extLst>
          </p:cNvPr>
          <p:cNvSpPr/>
          <p:nvPr/>
        </p:nvSpPr>
        <p:spPr>
          <a:xfrm>
            <a:off x="5973334" y="2332061"/>
            <a:ext cx="1148896" cy="279948"/>
          </a:xfrm>
          <a:prstGeom prst="rect">
            <a:avLst/>
          </a:prstGeom>
        </p:spPr>
        <p:txBody>
          <a:bodyPr wrap="square" lIns="0" tIns="0" rIns="0" bIns="91440">
            <a:spAutoFit/>
          </a:bodyPr>
          <a:lstStyle/>
          <a:p>
            <a:pPr>
              <a:lnSpc>
                <a:spcPct val="120000"/>
              </a:lnSpc>
            </a:pPr>
            <a:r>
              <a:rPr sz="1100" dirty="0"/>
              <a:t>Salida de </a:t>
            </a:r>
            <a:r>
              <a:rPr sz="1100" dirty="0" err="1"/>
              <a:t>agua</a:t>
            </a:r>
            <a:r>
              <a:rPr sz="1100" dirty="0"/>
              <a:t> caliente</a:t>
            </a:r>
          </a:p>
        </p:txBody>
      </p:sp>
      <p:cxnSp>
        <p:nvCxnSpPr>
          <p:cNvPr id="71" name="Straight Arrow Connector 38">
            <a:extLst>
              <a:ext uri="{FF2B5EF4-FFF2-40B4-BE49-F238E27FC236}">
                <a16:creationId xmlns:a16="http://schemas.microsoft.com/office/drawing/2014/main" id="{A0EE092E-7403-6AEF-E677-5AC79FBB4932}"/>
              </a:ext>
            </a:extLst>
          </p:cNvPr>
          <p:cNvCxnSpPr>
            <a:cxnSpLocks/>
          </p:cNvCxnSpPr>
          <p:nvPr/>
        </p:nvCxnSpPr>
        <p:spPr>
          <a:xfrm>
            <a:off x="5982858" y="3353043"/>
            <a:ext cx="13616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9CD0CBA-8642-5BF7-36DE-75427472418D}"/>
              </a:ext>
            </a:extLst>
          </p:cNvPr>
          <p:cNvSpPr/>
          <p:nvPr/>
        </p:nvSpPr>
        <p:spPr>
          <a:xfrm>
            <a:off x="5963809" y="3102610"/>
            <a:ext cx="1148896" cy="483081"/>
          </a:xfrm>
          <a:prstGeom prst="rect">
            <a:avLst/>
          </a:prstGeom>
        </p:spPr>
        <p:txBody>
          <a:bodyPr wrap="square" lIns="0" tIns="0" rIns="0" bIns="91440">
            <a:spAutoFit/>
          </a:bodyPr>
          <a:lstStyle/>
          <a:p>
            <a:pPr>
              <a:lnSpc>
                <a:spcPct val="120000"/>
              </a:lnSpc>
            </a:pPr>
            <a:r>
              <a:rPr sz="1100" dirty="0"/>
              <a:t>Agua </a:t>
            </a:r>
            <a:r>
              <a:rPr sz="1100" dirty="0" err="1"/>
              <a:t>fría</a:t>
            </a:r>
            <a:r>
              <a:rPr sz="1100" dirty="0"/>
              <a:t> del </a:t>
            </a:r>
            <a:r>
              <a:rPr sz="1100" dirty="0" err="1"/>
              <a:t>grifo</a:t>
            </a:r>
            <a:endParaRPr sz="1100" dirty="0"/>
          </a:p>
        </p:txBody>
      </p:sp>
      <p:cxnSp>
        <p:nvCxnSpPr>
          <p:cNvPr id="74" name="Straight Arrow Connector 38">
            <a:extLst>
              <a:ext uri="{FF2B5EF4-FFF2-40B4-BE49-F238E27FC236}">
                <a16:creationId xmlns:a16="http://schemas.microsoft.com/office/drawing/2014/main" id="{71F00BEE-9882-0E3F-E77F-DDC8DF8DD93C}"/>
              </a:ext>
            </a:extLst>
          </p:cNvPr>
          <p:cNvCxnSpPr>
            <a:cxnSpLocks/>
          </p:cNvCxnSpPr>
          <p:nvPr/>
        </p:nvCxnSpPr>
        <p:spPr>
          <a:xfrm>
            <a:off x="5973334" y="2723786"/>
            <a:ext cx="1796621" cy="215762"/>
          </a:xfrm>
          <a:prstGeom prst="bentConnector3">
            <a:avLst>
              <a:gd name="adj1" fmla="val 9218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1" name="Straight Arrow Connector 38">
            <a:extLst>
              <a:ext uri="{FF2B5EF4-FFF2-40B4-BE49-F238E27FC236}">
                <a16:creationId xmlns:a16="http://schemas.microsoft.com/office/drawing/2014/main" id="{B59050B8-8E7D-BD58-6DBF-38081A958C32}"/>
              </a:ext>
            </a:extLst>
          </p:cNvPr>
          <p:cNvCxnSpPr>
            <a:cxnSpLocks/>
            <a:stCxn id="85" idx="2"/>
          </p:cNvCxnSpPr>
          <p:nvPr/>
        </p:nvCxnSpPr>
        <p:spPr>
          <a:xfrm rot="5400000">
            <a:off x="9879014" y="3427395"/>
            <a:ext cx="778745" cy="2275800"/>
          </a:xfrm>
          <a:prstGeom prst="bentConnector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3BFA9080-2A8B-EE5C-A5F0-355211F00165}"/>
              </a:ext>
            </a:extLst>
          </p:cNvPr>
          <p:cNvSpPr/>
          <p:nvPr/>
        </p:nvSpPr>
        <p:spPr>
          <a:xfrm>
            <a:off x="11099996" y="3895975"/>
            <a:ext cx="612579" cy="279948"/>
          </a:xfrm>
          <a:prstGeom prst="rect">
            <a:avLst/>
          </a:prstGeom>
        </p:spPr>
        <p:txBody>
          <a:bodyPr wrap="square" lIns="0" tIns="0" rIns="0" bIns="91440">
            <a:spAutoFit/>
          </a:bodyPr>
          <a:lstStyle/>
          <a:p>
            <a:pPr algn="ctr">
              <a:lnSpc>
                <a:spcPct val="120000"/>
              </a:lnSpc>
            </a:pPr>
            <a:r>
              <a:rPr sz="1100"/>
              <a:t>Bomba</a:t>
            </a:r>
          </a:p>
        </p:txBody>
      </p:sp>
      <p:cxnSp>
        <p:nvCxnSpPr>
          <p:cNvPr id="86" name="Straight Arrow Connector 38">
            <a:extLst>
              <a:ext uri="{FF2B5EF4-FFF2-40B4-BE49-F238E27FC236}">
                <a16:creationId xmlns:a16="http://schemas.microsoft.com/office/drawing/2014/main" id="{3BEC7EA5-B9E2-74FF-0C50-D1499DE86A0B}"/>
              </a:ext>
            </a:extLst>
          </p:cNvPr>
          <p:cNvCxnSpPr>
            <a:cxnSpLocks/>
            <a:stCxn id="85" idx="0"/>
          </p:cNvCxnSpPr>
          <p:nvPr/>
        </p:nvCxnSpPr>
        <p:spPr>
          <a:xfrm rot="16200000" flipV="1">
            <a:off x="9526743" y="2016431"/>
            <a:ext cx="1037157" cy="2721931"/>
          </a:xfrm>
          <a:prstGeom prst="bentConnector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D7C6B41-99E5-B865-A920-E11A943E3A58}"/>
              </a:ext>
            </a:extLst>
          </p:cNvPr>
          <p:cNvSpPr/>
          <p:nvPr/>
        </p:nvSpPr>
        <p:spPr>
          <a:xfrm>
            <a:off x="9323932" y="4534747"/>
            <a:ext cx="1618748" cy="279948"/>
          </a:xfrm>
          <a:prstGeom prst="rect">
            <a:avLst/>
          </a:prstGeom>
        </p:spPr>
        <p:txBody>
          <a:bodyPr wrap="square" lIns="0" tIns="0" rIns="0" bIns="91440">
            <a:spAutoFit/>
          </a:bodyPr>
          <a:lstStyle/>
          <a:p>
            <a:pPr algn="r">
              <a:lnSpc>
                <a:spcPct val="120000"/>
              </a:lnSpc>
            </a:pPr>
            <a:r>
              <a:rPr sz="1100" dirty="0"/>
              <a:t>Agua </a:t>
            </a:r>
            <a:r>
              <a:rPr sz="1100" dirty="0" err="1"/>
              <a:t>precalentada</a:t>
            </a:r>
            <a:r>
              <a:rPr sz="1100" dirty="0"/>
              <a:t> </a:t>
            </a:r>
            <a:r>
              <a:rPr sz="1100" dirty="0" err="1"/>
              <a:t>en</a:t>
            </a:r>
            <a:r>
              <a:rPr sz="1100" dirty="0"/>
              <a:t> la </a:t>
            </a:r>
            <a:r>
              <a:rPr sz="1100" dirty="0" err="1"/>
              <a:t>bomba</a:t>
            </a:r>
            <a:endParaRPr sz="1100" dirty="0"/>
          </a:p>
        </p:txBody>
      </p:sp>
      <p:cxnSp>
        <p:nvCxnSpPr>
          <p:cNvPr id="100" name="Straight Arrow Connector 38">
            <a:extLst>
              <a:ext uri="{FF2B5EF4-FFF2-40B4-BE49-F238E27FC236}">
                <a16:creationId xmlns:a16="http://schemas.microsoft.com/office/drawing/2014/main" id="{BA54057D-079E-1E6F-9001-BE17C0A79A09}"/>
              </a:ext>
            </a:extLst>
          </p:cNvPr>
          <p:cNvCxnSpPr>
            <a:cxnSpLocks/>
          </p:cNvCxnSpPr>
          <p:nvPr/>
        </p:nvCxnSpPr>
        <p:spPr>
          <a:xfrm rot="10800000">
            <a:off x="9927480" y="3352165"/>
            <a:ext cx="981753" cy="489353"/>
          </a:xfrm>
          <a:prstGeom prst="bentConnector3">
            <a:avLst>
              <a:gd name="adj1" fmla="val 848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AEE05535-F47F-4E77-AA18-081E4343637F}"/>
              </a:ext>
            </a:extLst>
          </p:cNvPr>
          <p:cNvSpPr/>
          <p:nvPr/>
        </p:nvSpPr>
        <p:spPr>
          <a:xfrm>
            <a:off x="10170867" y="3438512"/>
            <a:ext cx="723696" cy="279948"/>
          </a:xfrm>
          <a:prstGeom prst="rect">
            <a:avLst/>
          </a:prstGeom>
        </p:spPr>
        <p:txBody>
          <a:bodyPr wrap="square" lIns="0" tIns="0" rIns="0" bIns="91440">
            <a:spAutoFit/>
          </a:bodyPr>
          <a:lstStyle/>
          <a:p>
            <a:pPr algn="r">
              <a:lnSpc>
                <a:spcPct val="120000"/>
              </a:lnSpc>
            </a:pPr>
            <a:r>
              <a:rPr sz="1100" dirty="0"/>
              <a:t>Unidad de </a:t>
            </a:r>
            <a:r>
              <a:rPr sz="1100" dirty="0" err="1"/>
              <a:t>ventilador</a:t>
            </a:r>
            <a:endParaRPr sz="1100" dirty="0"/>
          </a:p>
        </p:txBody>
      </p:sp>
      <p:sp>
        <p:nvSpPr>
          <p:cNvPr id="112" name="Rectangle 111">
            <a:extLst>
              <a:ext uri="{FF2B5EF4-FFF2-40B4-BE49-F238E27FC236}">
                <a16:creationId xmlns:a16="http://schemas.microsoft.com/office/drawing/2014/main" id="{A9A96C76-6E44-961B-EACD-590324563FAA}"/>
              </a:ext>
            </a:extLst>
          </p:cNvPr>
          <p:cNvSpPr/>
          <p:nvPr/>
        </p:nvSpPr>
        <p:spPr>
          <a:xfrm>
            <a:off x="9051093" y="2376671"/>
            <a:ext cx="1858139" cy="483081"/>
          </a:xfrm>
          <a:prstGeom prst="rect">
            <a:avLst/>
          </a:prstGeom>
        </p:spPr>
        <p:txBody>
          <a:bodyPr wrap="square" lIns="0" tIns="0" rIns="0" bIns="91440">
            <a:spAutoFit/>
          </a:bodyPr>
          <a:lstStyle/>
          <a:p>
            <a:pPr algn="r">
              <a:lnSpc>
                <a:spcPct val="120000"/>
              </a:lnSpc>
            </a:pPr>
            <a:r>
              <a:rPr sz="1100"/>
              <a:t>Agua precalentada</a:t>
            </a:r>
          </a:p>
          <a:p>
            <a:pPr algn="r">
              <a:lnSpc>
                <a:spcPct val="120000"/>
              </a:lnSpc>
            </a:pPr>
            <a:r>
              <a:rPr sz="1100"/>
              <a:t>de la bomba</a:t>
            </a:r>
          </a:p>
        </p:txBody>
      </p:sp>
      <p:cxnSp>
        <p:nvCxnSpPr>
          <p:cNvPr id="113" name="Straight Arrow Connector 38">
            <a:extLst>
              <a:ext uri="{FF2B5EF4-FFF2-40B4-BE49-F238E27FC236}">
                <a16:creationId xmlns:a16="http://schemas.microsoft.com/office/drawing/2014/main" id="{E08CB6C4-8458-2EA4-D71F-8E4985250CEE}"/>
              </a:ext>
            </a:extLst>
          </p:cNvPr>
          <p:cNvCxnSpPr>
            <a:cxnSpLocks/>
          </p:cNvCxnSpPr>
          <p:nvPr/>
        </p:nvCxnSpPr>
        <p:spPr>
          <a:xfrm rot="10800000" flipV="1">
            <a:off x="8378790" y="2077303"/>
            <a:ext cx="2530442" cy="685282"/>
          </a:xfrm>
          <a:prstGeom prst="bentConnector3">
            <a:avLst>
              <a:gd name="adj1" fmla="val 10082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93D22ADA-A9F7-150A-D84F-2F43A49B89DB}"/>
              </a:ext>
            </a:extLst>
          </p:cNvPr>
          <p:cNvSpPr/>
          <p:nvPr/>
        </p:nvSpPr>
        <p:spPr>
          <a:xfrm>
            <a:off x="9051093" y="1797355"/>
            <a:ext cx="1858139" cy="279948"/>
          </a:xfrm>
          <a:prstGeom prst="rect">
            <a:avLst/>
          </a:prstGeom>
        </p:spPr>
        <p:txBody>
          <a:bodyPr wrap="square" lIns="0" tIns="0" rIns="0" bIns="91440">
            <a:spAutoFit/>
          </a:bodyPr>
          <a:lstStyle/>
          <a:p>
            <a:pPr algn="r">
              <a:lnSpc>
                <a:spcPct val="120000"/>
              </a:lnSpc>
            </a:pPr>
            <a:r>
              <a:rPr sz="1100"/>
              <a:t>Aire frío directo</a:t>
            </a:r>
          </a:p>
        </p:txBody>
      </p:sp>
      <p:sp>
        <p:nvSpPr>
          <p:cNvPr id="142" name="Footer Placeholder 4">
            <a:extLst>
              <a:ext uri="{FF2B5EF4-FFF2-40B4-BE49-F238E27FC236}">
                <a16:creationId xmlns:a16="http://schemas.microsoft.com/office/drawing/2014/main" id="{7604C2AF-C338-D6DD-81A9-8C7A884E91E0}"/>
              </a:ext>
            </a:extLst>
          </p:cNvPr>
          <p:cNvSpPr txBox="1">
            <a:spLocks/>
          </p:cNvSpPr>
          <p:nvPr/>
        </p:nvSpPr>
        <p:spPr>
          <a:xfrm>
            <a:off x="920896" y="6529068"/>
            <a:ext cx="2087655" cy="153888"/>
          </a:xfrm>
          <a:prstGeom prst="rect">
            <a:avLst/>
          </a:prstGeom>
        </p:spPr>
        <p:txBody>
          <a:bodyPr wrap="square" lIns="0" tIns="0" rIns="0" bIns="0" anchor="ctr">
            <a:noAutofit/>
          </a:bodyPr>
          <a:ls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a:lstStyle>
          <a:p>
            <a:pPr>
              <a:spcAft>
                <a:spcPts val="600"/>
              </a:spcAft>
            </a:pPr>
            <a:r>
              <a:rPr sz="1000"/>
              <a:t>INFORMACIÓN CONFIDENCIAL DE LA EMPRESA</a:t>
            </a:r>
          </a:p>
        </p:txBody>
      </p:sp>
    </p:spTree>
    <p:extLst>
      <p:ext uri="{BB962C8B-B14F-4D97-AF65-F5344CB8AC3E}">
        <p14:creationId xmlns:p14="http://schemas.microsoft.com/office/powerpoint/2010/main" val="209185424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002D1-AF7B-5549-CD00-FF0FC9392A2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2DFF15-EF63-86FB-C7F6-54A99FB4C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4E2DFF15-EF63-86FB-C7F6-54A99FB4C9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ntent Placeholder 16">
            <a:extLst>
              <a:ext uri="{FF2B5EF4-FFF2-40B4-BE49-F238E27FC236}">
                <a16:creationId xmlns:a16="http://schemas.microsoft.com/office/drawing/2014/main" id="{940FDCFA-EC4F-E969-37FA-C153436FFB46}"/>
              </a:ext>
            </a:extLst>
          </p:cNvPr>
          <p:cNvSpPr>
            <a:spLocks noGrp="1"/>
          </p:cNvSpPr>
          <p:nvPr>
            <p:ph sz="quarter" idx="21"/>
          </p:nvPr>
        </p:nvSpPr>
        <p:spPr>
          <a:xfrm>
            <a:off x="479425" y="1762760"/>
            <a:ext cx="11290935" cy="376456"/>
          </a:xfrm>
          <a:effectLst/>
        </p:spPr>
        <p:txBody>
          <a:bodyPr lIns="0" tIns="0" rIns="0" bIns="0"/>
          <a:lstStyle/>
          <a:p>
            <a:pPr marL="0" indent="0">
              <a:buNone/>
            </a:pPr>
            <a:r>
              <a:rPr sz="1200" dirty="0"/>
              <a:t>La </a:t>
            </a:r>
            <a:r>
              <a:rPr sz="1200" dirty="0" err="1"/>
              <a:t>compatibilidad</a:t>
            </a:r>
            <a:r>
              <a:rPr sz="1200" dirty="0"/>
              <a:t> de HPW con </a:t>
            </a:r>
            <a:r>
              <a:rPr sz="1200" dirty="0" err="1"/>
              <a:t>biodiésel</a:t>
            </a:r>
            <a:r>
              <a:rPr sz="1200" dirty="0"/>
              <a:t> </a:t>
            </a:r>
            <a:r>
              <a:rPr sz="1200" dirty="0" err="1"/>
              <a:t>puede</a:t>
            </a:r>
            <a:r>
              <a:rPr sz="1200" dirty="0"/>
              <a:t> </a:t>
            </a:r>
            <a:r>
              <a:rPr sz="1200" dirty="0" err="1"/>
              <a:t>ayudar</a:t>
            </a:r>
            <a:r>
              <a:rPr sz="1200" dirty="0"/>
              <a:t> a </a:t>
            </a:r>
            <a:r>
              <a:rPr sz="1200" dirty="0" err="1"/>
              <a:t>nuestros</a:t>
            </a:r>
            <a:r>
              <a:rPr sz="1200" dirty="0"/>
              <a:t> </a:t>
            </a:r>
            <a:r>
              <a:rPr sz="1200" dirty="0" err="1"/>
              <a:t>clientes</a:t>
            </a:r>
            <a:r>
              <a:rPr sz="1200" dirty="0"/>
              <a:t> a </a:t>
            </a:r>
            <a:r>
              <a:rPr sz="1200" dirty="0" err="1"/>
              <a:t>alcanzar</a:t>
            </a:r>
            <a:r>
              <a:rPr sz="1200" dirty="0"/>
              <a:t> sus </a:t>
            </a:r>
            <a:r>
              <a:rPr sz="1200" dirty="0" err="1"/>
              <a:t>objetivos</a:t>
            </a:r>
            <a:r>
              <a:rPr sz="1200" dirty="0"/>
              <a:t> de </a:t>
            </a:r>
            <a:r>
              <a:rPr sz="1200" dirty="0" err="1"/>
              <a:t>reducción</a:t>
            </a:r>
            <a:r>
              <a:rPr sz="1200" dirty="0"/>
              <a:t> de CO₂, </a:t>
            </a:r>
            <a:r>
              <a:rPr sz="1200" dirty="0" err="1"/>
              <a:t>mientras</a:t>
            </a:r>
            <a:r>
              <a:rPr sz="1200" dirty="0"/>
              <a:t> </a:t>
            </a:r>
            <a:r>
              <a:rPr sz="1200" dirty="0" err="1"/>
              <a:t>que</a:t>
            </a:r>
            <a:r>
              <a:rPr sz="1200" dirty="0"/>
              <a:t> </a:t>
            </a:r>
            <a:r>
              <a:rPr sz="1200" dirty="0" err="1"/>
              <a:t>el</a:t>
            </a:r>
            <a:r>
              <a:rPr sz="1200" dirty="0"/>
              <a:t> </a:t>
            </a:r>
            <a:r>
              <a:rPr sz="1200" dirty="0" err="1"/>
              <a:t>uso</a:t>
            </a:r>
            <a:r>
              <a:rPr sz="1200" dirty="0"/>
              <a:t> </a:t>
            </a:r>
            <a:r>
              <a:rPr sz="1200" dirty="0" err="1"/>
              <a:t>eficiente</a:t>
            </a:r>
            <a:r>
              <a:rPr sz="1200" dirty="0"/>
              <a:t> del combustible </a:t>
            </a:r>
            <a:r>
              <a:rPr sz="1200" dirty="0" err="1"/>
              <a:t>permite</a:t>
            </a:r>
            <a:r>
              <a:rPr sz="1200" dirty="0"/>
              <a:t> </a:t>
            </a:r>
            <a:r>
              <a:rPr sz="1200" dirty="0" err="1"/>
              <a:t>ahorrar</a:t>
            </a:r>
            <a:r>
              <a:rPr sz="1200" dirty="0"/>
              <a:t> dinero y </a:t>
            </a:r>
            <a:r>
              <a:rPr sz="1200" dirty="0" err="1"/>
              <a:t>respaldar</a:t>
            </a:r>
            <a:r>
              <a:rPr sz="1200" dirty="0"/>
              <a:t> </a:t>
            </a:r>
            <a:r>
              <a:rPr sz="1200" dirty="0" err="1"/>
              <a:t>su</a:t>
            </a:r>
            <a:r>
              <a:rPr sz="1200" dirty="0"/>
              <a:t> </a:t>
            </a:r>
            <a:r>
              <a:rPr sz="1200" dirty="0" err="1"/>
              <a:t>inversión</a:t>
            </a:r>
            <a:r>
              <a:rPr sz="1200" dirty="0"/>
              <a:t>.</a:t>
            </a:r>
            <a:endParaRPr lang="en-GB" sz="1200" b="1" noProof="0" dirty="0"/>
          </a:p>
        </p:txBody>
      </p:sp>
      <p:sp>
        <p:nvSpPr>
          <p:cNvPr id="4" name="Footer Placeholder 3">
            <a:extLst>
              <a:ext uri="{FF2B5EF4-FFF2-40B4-BE49-F238E27FC236}">
                <a16:creationId xmlns:a16="http://schemas.microsoft.com/office/drawing/2014/main" id="{ECF5C69D-0E6B-BF61-F120-FFA78EEA534D}"/>
              </a:ext>
            </a:extLst>
          </p:cNvPr>
          <p:cNvSpPr>
            <a:spLocks noGrp="1"/>
          </p:cNvSpPr>
          <p:nvPr>
            <p:ph type="ftr" sz="quarter" idx="24"/>
          </p:nvPr>
        </p:nvSpPr>
        <p:spPr/>
        <p:txBody>
          <a:bodyPr/>
          <a:lstStyle/>
          <a:p>
            <a:pPr marL="0" marR="0" indent="0" algn="l" defTabSz="1023967" rtl="0" eaLnBrk="1" fontAlgn="auto" latinLnBrk="0" hangingPunct="1">
              <a:lnSpc>
                <a:spcPct val="100000"/>
              </a:lnSpc>
              <a:spcBef>
                <a:spcPts val="0"/>
              </a:spcBef>
              <a:spcAft>
                <a:spcPts val="0"/>
              </a:spcAft>
              <a:buClrTx/>
              <a:buSzTx/>
              <a:buFontTx/>
              <a:buNone/>
              <a:tabLst/>
              <a:defRPr/>
            </a:pPr>
            <a:r>
              <a:rPr sz="1000" b="0" i="0" u="none">
                <a:solidFill>
                  <a:srgbClr val="B3BBC5"/>
                </a:solidFill>
                <a:latin typeface="Roboto Light"/>
              </a:rPr>
              <a:t>INFORMACIÓN CONFIDENCIAL DE LA EMPRESA</a:t>
            </a:r>
          </a:p>
        </p:txBody>
      </p:sp>
      <p:sp>
        <p:nvSpPr>
          <p:cNvPr id="5" name="Slide Number Placeholder 4">
            <a:extLst>
              <a:ext uri="{FF2B5EF4-FFF2-40B4-BE49-F238E27FC236}">
                <a16:creationId xmlns:a16="http://schemas.microsoft.com/office/drawing/2014/main" id="{B9792E24-3FC3-A8AA-DCA1-0BBFA97E53D1}"/>
              </a:ext>
            </a:extLst>
          </p:cNvPr>
          <p:cNvSpPr>
            <a:spLocks noGrp="1"/>
          </p:cNvSpPr>
          <p:nvPr>
            <p:ph type="sldNum" sz="quarter" idx="25"/>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lang="en-GB"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29</a:t>
            </a:fld>
            <a:endParaRPr kumimoji="0" lang="en-GB"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7" name="Title 6">
            <a:extLst>
              <a:ext uri="{FF2B5EF4-FFF2-40B4-BE49-F238E27FC236}">
                <a16:creationId xmlns:a16="http://schemas.microsoft.com/office/drawing/2014/main" id="{18B342AE-C3BC-719D-CC90-D3CB2BCE2F99}"/>
              </a:ext>
            </a:extLst>
          </p:cNvPr>
          <p:cNvSpPr>
            <a:spLocks noGrp="1"/>
          </p:cNvSpPr>
          <p:nvPr>
            <p:ph type="title"/>
          </p:nvPr>
        </p:nvSpPr>
        <p:spPr>
          <a:xfrm>
            <a:off x="479426" y="494490"/>
            <a:ext cx="10092407" cy="388013"/>
          </a:xfrm>
        </p:spPr>
        <p:txBody>
          <a:bodyPr vert="horz">
            <a:noAutofit/>
          </a:bodyPr>
          <a:lstStyle/>
          <a:p>
            <a:r>
              <a:rPr dirty="0"/>
              <a:t>La </a:t>
            </a:r>
            <a:r>
              <a:rPr dirty="0" err="1"/>
              <a:t>compatibilidad</a:t>
            </a:r>
            <a:r>
              <a:rPr dirty="0"/>
              <a:t> con </a:t>
            </a:r>
            <a:r>
              <a:rPr dirty="0" err="1"/>
              <a:t>biocombustibles</a:t>
            </a:r>
            <a:r>
              <a:rPr dirty="0"/>
              <a:t> y la </a:t>
            </a:r>
            <a:r>
              <a:rPr dirty="0" err="1"/>
              <a:t>eficiencia</a:t>
            </a:r>
            <a:r>
              <a:rPr dirty="0"/>
              <a:t> </a:t>
            </a:r>
            <a:r>
              <a:rPr dirty="0" err="1"/>
              <a:t>energética</a:t>
            </a:r>
            <a:r>
              <a:rPr dirty="0"/>
              <a:t> </a:t>
            </a:r>
            <a:r>
              <a:rPr dirty="0" err="1"/>
              <a:t>ayudan</a:t>
            </a:r>
            <a:r>
              <a:rPr dirty="0"/>
              <a:t> a </a:t>
            </a:r>
            <a:r>
              <a:rPr dirty="0" err="1"/>
              <a:t>nuestros</a:t>
            </a:r>
            <a:r>
              <a:rPr dirty="0"/>
              <a:t> </a:t>
            </a:r>
            <a:r>
              <a:rPr dirty="0" err="1"/>
              <a:t>clientes</a:t>
            </a:r>
            <a:r>
              <a:rPr dirty="0"/>
              <a:t> </a:t>
            </a:r>
            <a:r>
              <a:rPr lang="en-GB" dirty="0" err="1"/>
              <a:t>en</a:t>
            </a:r>
            <a:r>
              <a:rPr dirty="0"/>
              <a:t> </a:t>
            </a:r>
            <a:r>
              <a:rPr dirty="0" err="1"/>
              <a:t>ahorrar</a:t>
            </a:r>
            <a:r>
              <a:rPr dirty="0"/>
              <a:t> dinero.</a:t>
            </a:r>
          </a:p>
        </p:txBody>
      </p:sp>
      <p:graphicFrame>
        <p:nvGraphicFramePr>
          <p:cNvPr id="2" name="Chart 1">
            <a:extLst>
              <a:ext uri="{FF2B5EF4-FFF2-40B4-BE49-F238E27FC236}">
                <a16:creationId xmlns:a16="http://schemas.microsoft.com/office/drawing/2014/main" id="{06089008-39DB-1242-8234-B66B83345939}"/>
              </a:ext>
            </a:extLst>
          </p:cNvPr>
          <p:cNvGraphicFramePr>
            <a:graphicFrameLocks/>
          </p:cNvGraphicFramePr>
          <p:nvPr>
            <p:extLst>
              <p:ext uri="{D42A27DB-BD31-4B8C-83A1-F6EECF244321}">
                <p14:modId xmlns:p14="http://schemas.microsoft.com/office/powerpoint/2010/main" val="388483752"/>
              </p:ext>
            </p:extLst>
          </p:nvPr>
        </p:nvGraphicFramePr>
        <p:xfrm>
          <a:off x="478449" y="2336800"/>
          <a:ext cx="5508014" cy="340038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Chart 2">
            <a:extLst>
              <a:ext uri="{FF2B5EF4-FFF2-40B4-BE49-F238E27FC236}">
                <a16:creationId xmlns:a16="http://schemas.microsoft.com/office/drawing/2014/main" id="{FE2CC7BC-C7C5-951C-A200-E7A488B1A6AD}"/>
              </a:ext>
            </a:extLst>
          </p:cNvPr>
          <p:cNvGraphicFramePr>
            <a:graphicFrameLocks/>
          </p:cNvGraphicFramePr>
          <p:nvPr>
            <p:extLst>
              <p:ext uri="{D42A27DB-BD31-4B8C-83A1-F6EECF244321}">
                <p14:modId xmlns:p14="http://schemas.microsoft.com/office/powerpoint/2010/main" val="1921797760"/>
              </p:ext>
            </p:extLst>
          </p:nvPr>
        </p:nvGraphicFramePr>
        <p:xfrm>
          <a:off x="6205539" y="2336800"/>
          <a:ext cx="5507036" cy="3400385"/>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6">
            <a:extLst>
              <a:ext uri="{FF2B5EF4-FFF2-40B4-BE49-F238E27FC236}">
                <a16:creationId xmlns:a16="http://schemas.microsoft.com/office/drawing/2014/main" id="{D2D1B9CC-D1C7-9823-E510-BE90EDD939B8}"/>
              </a:ext>
            </a:extLst>
          </p:cNvPr>
          <p:cNvSpPr>
            <a:spLocks noGrp="1"/>
          </p:cNvSpPr>
          <p:nvPr>
            <p:ph type="body" sz="quarter" idx="14"/>
          </p:nvPr>
        </p:nvSpPr>
        <p:spPr>
          <a:xfrm>
            <a:off x="478449" y="1282634"/>
            <a:ext cx="11235102" cy="376456"/>
          </a:xfrm>
        </p:spPr>
        <p:txBody>
          <a:bodyPr>
            <a:normAutofit/>
          </a:bodyPr>
          <a:lstStyle/>
          <a:p>
            <a:r>
              <a:t>Serie MH: Ahorrar combustible = Ahorrar dinero para nuestros clientes</a:t>
            </a:r>
          </a:p>
        </p:txBody>
      </p:sp>
      <p:sp>
        <p:nvSpPr>
          <p:cNvPr id="10" name="Pladsholder til indhold 3">
            <a:extLst>
              <a:ext uri="{FF2B5EF4-FFF2-40B4-BE49-F238E27FC236}">
                <a16:creationId xmlns:a16="http://schemas.microsoft.com/office/drawing/2014/main" id="{802D7129-6813-B933-EFEF-F8C40CBFE998}"/>
              </a:ext>
            </a:extLst>
          </p:cNvPr>
          <p:cNvSpPr txBox="1">
            <a:spLocks/>
          </p:cNvSpPr>
          <p:nvPr/>
        </p:nvSpPr>
        <p:spPr>
          <a:xfrm>
            <a:off x="479424" y="6001141"/>
            <a:ext cx="11358878" cy="208481"/>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sz="900"/>
              <a:t>Supuestos: 4 horas por día, 5 días por semana, 45 semanas por año. Ahorro del 4,4% (modelo nuevo vs modelo antiguo Nilfisk). 1 litro de diésel: 1,89 EUR. 1 litro de biodiésel HVO: 2,05 EUR. Precio de la máquina: 4.687 EUR.</a:t>
            </a:r>
          </a:p>
          <a:p>
            <a:pPr marL="0" indent="0">
              <a:buFont typeface="Arial" panose="020B0604020202020204" pitchFamily="34" charset="0"/>
              <a:buNone/>
            </a:pPr>
            <a:r>
              <a:rPr sz="900"/>
              <a:t>Precios de lista (DK) https://www.fuelfinder.dk/listprices.php 03/10/2025</a:t>
            </a:r>
          </a:p>
        </p:txBody>
      </p:sp>
    </p:spTree>
    <p:custDataLst>
      <p:tags r:id="rId1"/>
    </p:custDataLst>
    <p:extLst>
      <p:ext uri="{BB962C8B-B14F-4D97-AF65-F5344CB8AC3E}">
        <p14:creationId xmlns:p14="http://schemas.microsoft.com/office/powerpoint/2010/main" val="35875205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r>
              <a:t>1</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r>
              <a:t>Propuesta de valor</a:t>
            </a:r>
          </a:p>
          <a:p>
            <a:endParaRPr lang="en-GB"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fld id="{6C385236-B7BA-4938-9EA6-6DEC8CA653D7}" type="slidenum">
              <a:rPr lang="en-GB" noProof="0" smtClean="0"/>
              <a:pPr/>
              <a:t>3</a:t>
            </a:fld>
            <a:endParaRPr lang="en-GB" noProof="0" dirty="0"/>
          </a:p>
        </p:txBody>
      </p:sp>
    </p:spTree>
    <p:extLst>
      <p:ext uri="{BB962C8B-B14F-4D97-AF65-F5344CB8AC3E}">
        <p14:creationId xmlns:p14="http://schemas.microsoft.com/office/powerpoint/2010/main" val="24323451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CDF5D-B6C0-A54B-E1AD-9B0CC5CAEE71}"/>
            </a:ext>
          </a:extLst>
        </p:cNvPr>
        <p:cNvGrpSpPr/>
        <p:nvPr/>
      </p:nvGrpSpPr>
      <p:grpSpPr>
        <a:xfrm>
          <a:off x="0" y="0"/>
          <a:ext cx="0" cy="0"/>
          <a:chOff x="0" y="0"/>
          <a:chExt cx="0" cy="0"/>
        </a:xfrm>
      </p:grpSpPr>
      <p:sp>
        <p:nvSpPr>
          <p:cNvPr id="6" name="Text Placeholder 1">
            <a:extLst>
              <a:ext uri="{FF2B5EF4-FFF2-40B4-BE49-F238E27FC236}">
                <a16:creationId xmlns:a16="http://schemas.microsoft.com/office/drawing/2014/main" id="{CB6F819B-4F6A-3070-A6F5-0CC3AC1DB6C7}"/>
              </a:ext>
            </a:extLst>
          </p:cNvPr>
          <p:cNvSpPr txBox="1">
            <a:spLocks/>
          </p:cNvSpPr>
          <p:nvPr/>
        </p:nvSpPr>
        <p:spPr>
          <a:xfrm>
            <a:off x="8782152" y="0"/>
            <a:ext cx="3409845"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noProof="0" dirty="0"/>
          </a:p>
        </p:txBody>
      </p:sp>
      <p:graphicFrame>
        <p:nvGraphicFramePr>
          <p:cNvPr id="7" name="think-cell data - do not delete" hidden="1">
            <a:extLst>
              <a:ext uri="{FF2B5EF4-FFF2-40B4-BE49-F238E27FC236}">
                <a16:creationId xmlns:a16="http://schemas.microsoft.com/office/drawing/2014/main" id="{C54190ED-8087-42A2-4315-001BD50DCA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7" name="think-cell data - do not delete" hidden="1">
                        <a:extLst>
                          <a:ext uri="{FF2B5EF4-FFF2-40B4-BE49-F238E27FC236}">
                            <a16:creationId xmlns:a16="http://schemas.microsoft.com/office/drawing/2014/main" id="{C54190ED-8087-42A2-4315-001BD50DCA28}"/>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B6E94905-C0E7-D508-CA10-5B0735B83258}"/>
              </a:ext>
            </a:extLst>
          </p:cNvPr>
          <p:cNvSpPr>
            <a:spLocks noGrp="1"/>
          </p:cNvSpPr>
          <p:nvPr>
            <p:ph type="ftr" sz="quarter" idx="19"/>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sz="1000" b="0" i="0" u="none">
                <a:solidFill>
                  <a:srgbClr val="B3BBC5"/>
                </a:solidFill>
                <a:latin typeface="Roboto Light"/>
              </a:rPr>
              <a:t>INFORMACIÓN CONFIDENCIAL DE LA EMPRESA</a:t>
            </a:r>
          </a:p>
        </p:txBody>
      </p:sp>
      <p:sp>
        <p:nvSpPr>
          <p:cNvPr id="3" name="Slide Number Placeholder 2">
            <a:extLst>
              <a:ext uri="{FF2B5EF4-FFF2-40B4-BE49-F238E27FC236}">
                <a16:creationId xmlns:a16="http://schemas.microsoft.com/office/drawing/2014/main" id="{BB9C963A-C450-2314-09BF-A58DC73CB1BF}"/>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385236-B7BA-4938-9EA6-6DEC8CA653D7}" type="slidenum">
              <a:rPr kumimoji="0" lang="en-GB"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5" name="Title 4">
            <a:extLst>
              <a:ext uri="{FF2B5EF4-FFF2-40B4-BE49-F238E27FC236}">
                <a16:creationId xmlns:a16="http://schemas.microsoft.com/office/drawing/2014/main" id="{7269F8C9-0983-533B-2BFC-BF9F34F944B7}"/>
              </a:ext>
            </a:extLst>
          </p:cNvPr>
          <p:cNvSpPr>
            <a:spLocks noGrp="1"/>
          </p:cNvSpPr>
          <p:nvPr>
            <p:ph type="title"/>
          </p:nvPr>
        </p:nvSpPr>
        <p:spPr>
          <a:xfrm>
            <a:off x="479426" y="494490"/>
            <a:ext cx="7706166" cy="600236"/>
          </a:xfrm>
        </p:spPr>
        <p:txBody>
          <a:bodyPr vert="horz"/>
          <a:lstStyle/>
          <a:p>
            <a:r>
              <a:rPr dirty="0"/>
              <a:t>Al </a:t>
            </a:r>
            <a:r>
              <a:rPr dirty="0" err="1"/>
              <a:t>cambiar</a:t>
            </a:r>
            <a:r>
              <a:rPr dirty="0"/>
              <a:t> a </a:t>
            </a:r>
            <a:r>
              <a:rPr dirty="0" err="1"/>
              <a:t>biocombustibles</a:t>
            </a:r>
            <a:r>
              <a:rPr dirty="0"/>
              <a:t> se reduce la </a:t>
            </a:r>
            <a:r>
              <a:rPr dirty="0" err="1"/>
              <a:t>huella</a:t>
            </a:r>
            <a:r>
              <a:rPr dirty="0"/>
              <a:t> de </a:t>
            </a:r>
            <a:r>
              <a:rPr dirty="0" err="1"/>
              <a:t>carbono</a:t>
            </a:r>
            <a:r>
              <a:rPr dirty="0"/>
              <a:t> </a:t>
            </a:r>
            <a:r>
              <a:rPr dirty="0" err="1"/>
              <a:t>en</a:t>
            </a:r>
            <a:r>
              <a:rPr dirty="0"/>
              <a:t> </a:t>
            </a:r>
            <a:r>
              <a:rPr dirty="0" err="1"/>
              <a:t>el</a:t>
            </a:r>
            <a:r>
              <a:rPr dirty="0"/>
              <a:t> </a:t>
            </a:r>
            <a:r>
              <a:rPr dirty="0" err="1"/>
              <a:t>uso</a:t>
            </a:r>
            <a:r>
              <a:rPr dirty="0"/>
              <a:t> de </a:t>
            </a:r>
            <a:r>
              <a:rPr dirty="0" err="1"/>
              <a:t>equipos</a:t>
            </a:r>
            <a:r>
              <a:rPr dirty="0"/>
              <a:t> de </a:t>
            </a:r>
            <a:r>
              <a:rPr dirty="0" err="1"/>
              <a:t>agua</a:t>
            </a:r>
            <a:r>
              <a:rPr dirty="0"/>
              <a:t> a </a:t>
            </a:r>
            <a:r>
              <a:rPr dirty="0" err="1"/>
              <a:t>alta</a:t>
            </a:r>
            <a:r>
              <a:rPr dirty="0"/>
              <a:t> </a:t>
            </a:r>
            <a:r>
              <a:rPr dirty="0" err="1"/>
              <a:t>presión</a:t>
            </a:r>
            <a:r>
              <a:rPr dirty="0"/>
              <a:t>.</a:t>
            </a:r>
          </a:p>
        </p:txBody>
      </p:sp>
      <p:sp>
        <p:nvSpPr>
          <p:cNvPr id="81" name="TextBox 80">
            <a:extLst>
              <a:ext uri="{FF2B5EF4-FFF2-40B4-BE49-F238E27FC236}">
                <a16:creationId xmlns:a16="http://schemas.microsoft.com/office/drawing/2014/main" id="{9CEB3CA9-CC8A-5E3F-19CA-FBD48DA60487}"/>
              </a:ext>
            </a:extLst>
          </p:cNvPr>
          <p:cNvSpPr txBox="1"/>
          <p:nvPr/>
        </p:nvSpPr>
        <p:spPr>
          <a:xfrm>
            <a:off x="478304" y="1696192"/>
            <a:ext cx="3765600" cy="24622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sz="1600" i="0" u="none" dirty="0" err="1">
                <a:solidFill>
                  <a:srgbClr val="28313F"/>
                </a:solidFill>
                <a:latin typeface="Roboto Light"/>
              </a:rPr>
              <a:t>Emisiones</a:t>
            </a:r>
            <a:r>
              <a:rPr sz="1600" i="0" u="none" dirty="0">
                <a:solidFill>
                  <a:srgbClr val="28313F"/>
                </a:solidFill>
                <a:latin typeface="Roboto Light"/>
              </a:rPr>
              <a:t> </a:t>
            </a:r>
            <a:r>
              <a:rPr sz="1600" i="0" u="none" dirty="0" err="1">
                <a:solidFill>
                  <a:srgbClr val="28313F"/>
                </a:solidFill>
                <a:latin typeface="Roboto Light"/>
              </a:rPr>
              <a:t>por</a:t>
            </a:r>
            <a:r>
              <a:rPr sz="1600" i="0" u="none" dirty="0">
                <a:solidFill>
                  <a:srgbClr val="28313F"/>
                </a:solidFill>
                <a:latin typeface="Roboto Light"/>
              </a:rPr>
              <a:t> </a:t>
            </a:r>
            <a:r>
              <a:rPr sz="1600" i="0" u="none" dirty="0" err="1">
                <a:solidFill>
                  <a:srgbClr val="28313F"/>
                </a:solidFill>
                <a:latin typeface="Roboto Light"/>
              </a:rPr>
              <a:t>producto</a:t>
            </a:r>
            <a:r>
              <a:rPr sz="1600" i="0" u="none" dirty="0">
                <a:solidFill>
                  <a:srgbClr val="28313F"/>
                </a:solidFill>
                <a:latin typeface="Roboto Light"/>
              </a:rPr>
              <a:t> (kg </a:t>
            </a:r>
            <a:r>
              <a:rPr sz="1600" i="0" u="none" dirty="0" err="1">
                <a:solidFill>
                  <a:srgbClr val="28313F"/>
                </a:solidFill>
                <a:latin typeface="Roboto Light"/>
              </a:rPr>
              <a:t>CO₂e</a:t>
            </a:r>
            <a:r>
              <a:rPr sz="1600" i="0" u="none" dirty="0">
                <a:solidFill>
                  <a:srgbClr val="28313F"/>
                </a:solidFill>
                <a:latin typeface="Roboto Light"/>
              </a:rPr>
              <a:t>/hora)</a:t>
            </a:r>
          </a:p>
        </p:txBody>
      </p:sp>
      <p:sp>
        <p:nvSpPr>
          <p:cNvPr id="85" name="TextBox 84">
            <a:extLst>
              <a:ext uri="{FF2B5EF4-FFF2-40B4-BE49-F238E27FC236}">
                <a16:creationId xmlns:a16="http://schemas.microsoft.com/office/drawing/2014/main" id="{99C727DC-3534-0C46-687D-0A988F4F3FAD}"/>
              </a:ext>
            </a:extLst>
          </p:cNvPr>
          <p:cNvSpPr txBox="1"/>
          <p:nvPr/>
        </p:nvSpPr>
        <p:spPr>
          <a:xfrm>
            <a:off x="1578026" y="2353408"/>
            <a:ext cx="1863725" cy="215444"/>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sz="1400" i="0" u="none">
                <a:solidFill>
                  <a:srgbClr val="28313F"/>
                </a:solidFill>
                <a:latin typeface="Roboto Light"/>
              </a:rPr>
              <a:t>Francia</a:t>
            </a:r>
          </a:p>
        </p:txBody>
      </p:sp>
      <p:sp>
        <p:nvSpPr>
          <p:cNvPr id="86" name="TextBox 85">
            <a:extLst>
              <a:ext uri="{FF2B5EF4-FFF2-40B4-BE49-F238E27FC236}">
                <a16:creationId xmlns:a16="http://schemas.microsoft.com/office/drawing/2014/main" id="{8318270C-B4EE-860F-1383-FEE9D9E6CF28}"/>
              </a:ext>
            </a:extLst>
          </p:cNvPr>
          <p:cNvSpPr txBox="1"/>
          <p:nvPr/>
        </p:nvSpPr>
        <p:spPr>
          <a:xfrm>
            <a:off x="5476081" y="2371030"/>
            <a:ext cx="1863725" cy="215444"/>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sz="1400" i="0" u="none">
                <a:solidFill>
                  <a:srgbClr val="28313F"/>
                </a:solidFill>
                <a:latin typeface="Roboto Light"/>
              </a:rPr>
              <a:t>Alemania</a:t>
            </a:r>
          </a:p>
        </p:txBody>
      </p:sp>
      <p:sp>
        <p:nvSpPr>
          <p:cNvPr id="95" name="TextBox 94">
            <a:extLst>
              <a:ext uri="{FF2B5EF4-FFF2-40B4-BE49-F238E27FC236}">
                <a16:creationId xmlns:a16="http://schemas.microsoft.com/office/drawing/2014/main" id="{E7397118-2E6E-6795-DC51-A617B51D0215}"/>
              </a:ext>
            </a:extLst>
          </p:cNvPr>
          <p:cNvSpPr txBox="1"/>
          <p:nvPr/>
        </p:nvSpPr>
        <p:spPr>
          <a:xfrm>
            <a:off x="3759993" y="2343083"/>
            <a:ext cx="1370397" cy="253916"/>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sz="1050" b="1" u="none">
                <a:solidFill>
                  <a:srgbClr val="28313F"/>
                </a:solidFill>
                <a:latin typeface="+mj-lt"/>
              </a:rPr>
              <a:t>MH55M 220/1100</a:t>
            </a:r>
          </a:p>
        </p:txBody>
      </p:sp>
      <p:cxnSp>
        <p:nvCxnSpPr>
          <p:cNvPr id="98" name="Straight Connector 97">
            <a:extLst>
              <a:ext uri="{FF2B5EF4-FFF2-40B4-BE49-F238E27FC236}">
                <a16:creationId xmlns:a16="http://schemas.microsoft.com/office/drawing/2014/main" id="{8674C6E6-D134-A747-24D3-FF1B2E6A2FAC}"/>
              </a:ext>
            </a:extLst>
          </p:cNvPr>
          <p:cNvCxnSpPr>
            <a:cxnSpLocks/>
          </p:cNvCxnSpPr>
          <p:nvPr/>
        </p:nvCxnSpPr>
        <p:spPr>
          <a:xfrm flipH="1">
            <a:off x="4425530" y="2763785"/>
            <a:ext cx="19661" cy="258152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F1FC7644-4003-DF5D-266E-245C061B4FCE}"/>
              </a:ext>
            </a:extLst>
          </p:cNvPr>
          <p:cNvSpPr txBox="1"/>
          <p:nvPr/>
        </p:nvSpPr>
        <p:spPr>
          <a:xfrm>
            <a:off x="9072000" y="1013298"/>
            <a:ext cx="2638800" cy="4193456"/>
          </a:xfrm>
          <a:prstGeom prst="rect">
            <a:avLst/>
          </a:prstGeom>
          <a:noFill/>
        </p:spPr>
        <p:txBody>
          <a:bodyPr wrap="square" lIns="0" tIns="0" rIns="0" bIns="0" rtlCol="0">
            <a:spAutoFit/>
          </a:bodyPr>
          <a:lstStyle/>
          <a:p>
            <a:pPr marR="0" algn="l" defTabSz="914400" rtl="0" eaLnBrk="1" fontAlgn="auto" latinLnBrk="0" hangingPunct="1">
              <a:lnSpc>
                <a:spcPct val="120000"/>
              </a:lnSpc>
              <a:spcBef>
                <a:spcPts val="0"/>
              </a:spcBef>
              <a:spcAft>
                <a:spcPts val="0"/>
              </a:spcAft>
              <a:buClrTx/>
              <a:buSzTx/>
              <a:tabLst/>
              <a:defRPr/>
            </a:pPr>
            <a:r>
              <a:rPr sz="1200" b="0" i="0" u="none">
                <a:solidFill>
                  <a:srgbClr val="28313F"/>
                </a:solidFill>
                <a:latin typeface="Roboto Light"/>
              </a:rPr>
              <a:t>Una máquina que funciona al 100% con HVO puede reducir hasta un 80% las emisiones en comparación con el uso de diésel.</a:t>
            </a:r>
            <a:r>
              <a:rPr sz="1200">
                <a:solidFill>
                  <a:srgbClr val="28313F"/>
                </a:solidFill>
                <a:latin typeface="Roboto Light"/>
              </a:rPr>
              <a:t> El nivel de reducción puede variar según el país de uso.</a:t>
            </a:r>
            <a:endParaRPr kumimoji="0" lang="en-GB" sz="1200" b="0" i="0" u="none" strike="noStrike" kern="1200" cap="none" spc="0" normalizeH="0" baseline="0" noProof="0" dirty="0">
              <a:ln>
                <a:noFill/>
              </a:ln>
              <a:solidFill>
                <a:srgbClr val="28313F"/>
              </a:solidFill>
              <a:effectLst/>
              <a:uLnTx/>
              <a:uFillTx/>
              <a:latin typeface="Roboto Light"/>
              <a:ea typeface="+mn-ea"/>
              <a:cs typeface="+mn-cs"/>
            </a:endParaRPr>
          </a:p>
          <a:p>
            <a:pPr marR="0" lvl="0" algn="l" defTabSz="914400" rtl="0" eaLnBrk="1" fontAlgn="auto" latinLnBrk="0" hangingPunct="1">
              <a:lnSpc>
                <a:spcPct val="120000"/>
              </a:lnSpc>
              <a:spcBef>
                <a:spcPts val="0"/>
              </a:spcBef>
              <a:spcAft>
                <a:spcPts val="0"/>
              </a:spcAft>
              <a:buClrTx/>
              <a:buSzTx/>
              <a:tabLst/>
              <a:defRPr/>
            </a:pPr>
            <a:endParaRPr kumimoji="0" lang="en-GB" sz="1200" b="0" i="0" u="none" strike="noStrike" kern="1200" cap="none" spc="0" normalizeH="0" baseline="0" noProof="0" dirty="0">
              <a:ln>
                <a:noFill/>
              </a:ln>
              <a:solidFill>
                <a:srgbClr val="28313F"/>
              </a:solidFill>
              <a:effectLst/>
              <a:uLnTx/>
              <a:uFillTx/>
              <a:latin typeface="Roboto Light"/>
              <a:ea typeface="+mn-ea"/>
              <a:cs typeface="+mn-cs"/>
            </a:endParaRPr>
          </a:p>
          <a:p>
            <a:pPr marR="0" algn="l" defTabSz="914400" rtl="0" eaLnBrk="1" fontAlgn="auto" latinLnBrk="0" hangingPunct="1">
              <a:lnSpc>
                <a:spcPct val="120000"/>
              </a:lnSpc>
              <a:spcBef>
                <a:spcPts val="0"/>
              </a:spcBef>
              <a:spcAft>
                <a:spcPts val="0"/>
              </a:spcAft>
              <a:buClrTx/>
              <a:buSzTx/>
              <a:tabLst/>
              <a:defRPr/>
            </a:pPr>
            <a:r>
              <a:rPr sz="1200" b="0" i="0" u="none">
                <a:solidFill>
                  <a:srgbClr val="28313F"/>
                </a:solidFill>
                <a:latin typeface="Roboto Light"/>
              </a:rPr>
              <a:t>Metodología:</a:t>
            </a:r>
          </a:p>
          <a:p>
            <a:pPr marL="180000" indent="-180000" defTabSz="914400">
              <a:lnSpc>
                <a:spcPct val="120000"/>
              </a:lnSpc>
              <a:buFont typeface="Arial" panose="020B0604020202020204" pitchFamily="34" charset="0"/>
              <a:buChar char="•"/>
              <a:defRPr/>
            </a:pPr>
            <a:r>
              <a:rPr sz="1200" b="0" i="0" u="none">
                <a:solidFill>
                  <a:srgbClr val="28313F"/>
                </a:solidFill>
                <a:latin typeface="Roboto Light"/>
              </a:rPr>
              <a:t>Se asume que los biocombustibles tienen emisiones biogénicas netas cero (el CO₂ capturado durante el crecimiento se libera durante la combustión); únicamente se consideran el metano (CH₄) y el óxido nitroso (N₂O) provenientes de la combustión.</a:t>
            </a:r>
          </a:p>
          <a:p>
            <a:pPr marL="180000" indent="-180000" defTabSz="914400">
              <a:lnSpc>
                <a:spcPct val="120000"/>
              </a:lnSpc>
              <a:buFont typeface="Arial" panose="020B0604020202020204" pitchFamily="34" charset="0"/>
              <a:buChar char="•"/>
              <a:defRPr/>
            </a:pPr>
            <a:r>
              <a:rPr sz="1200">
                <a:solidFill>
                  <a:srgbClr val="28313F"/>
                </a:solidFill>
                <a:latin typeface="Roboto Light"/>
              </a:rPr>
              <a:t>Los factores de emisión para la electricidad provienen de la AIE (2024).</a:t>
            </a:r>
          </a:p>
          <a:p>
            <a:pPr marL="180000" indent="-180000" defTabSz="914400">
              <a:lnSpc>
                <a:spcPct val="120000"/>
              </a:lnSpc>
              <a:buFont typeface="Arial" panose="020B0604020202020204" pitchFamily="34" charset="0"/>
              <a:buChar char="•"/>
              <a:defRPr/>
            </a:pPr>
            <a:r>
              <a:rPr sz="1200" b="0" i="0" u="none">
                <a:solidFill>
                  <a:srgbClr val="28313F"/>
                </a:solidFill>
                <a:latin typeface="Roboto Light"/>
              </a:rPr>
              <a:t>Los factores de emisión para los combustibles provienen de Defra (2024).</a:t>
            </a:r>
          </a:p>
          <a:p>
            <a:pPr marL="180000" indent="-180000" defTabSz="914400">
              <a:lnSpc>
                <a:spcPct val="120000"/>
              </a:lnSpc>
              <a:buFont typeface="Arial" panose="020B0604020202020204" pitchFamily="34" charset="0"/>
              <a:buChar char="•"/>
              <a:defRPr/>
            </a:pPr>
            <a:r>
              <a:rPr sz="1200">
                <a:solidFill>
                  <a:srgbClr val="28313F"/>
                </a:solidFill>
                <a:latin typeface="Roboto Light"/>
              </a:rPr>
              <a:t>Estamos utilizando factores de emisiones del ciclo de vida, considerando las emisiones a lo largo de toda la cadena de suministro de biocombustibles.</a:t>
            </a:r>
          </a:p>
        </p:txBody>
      </p:sp>
      <p:graphicFrame>
        <p:nvGraphicFramePr>
          <p:cNvPr id="1030" name="Chart 1029">
            <a:extLst>
              <a:ext uri="{FF2B5EF4-FFF2-40B4-BE49-F238E27FC236}">
                <a16:creationId xmlns:a16="http://schemas.microsoft.com/office/drawing/2014/main" id="{489B141B-C40C-B3A2-3BF1-2B177EC9BB3F}"/>
              </a:ext>
            </a:extLst>
          </p:cNvPr>
          <p:cNvGraphicFramePr/>
          <p:nvPr>
            <p:custDataLst>
              <p:tags r:id="rId2"/>
            </p:custDataLst>
            <p:extLst>
              <p:ext uri="{D42A27DB-BD31-4B8C-83A1-F6EECF244321}">
                <p14:modId xmlns:p14="http://schemas.microsoft.com/office/powerpoint/2010/main" val="3432210300"/>
              </p:ext>
            </p:extLst>
          </p:nvPr>
        </p:nvGraphicFramePr>
        <p:xfrm>
          <a:off x="18200" y="2873375"/>
          <a:ext cx="8093442" cy="2779712"/>
        </p:xfrm>
        <a:graphic>
          <a:graphicData uri="http://schemas.openxmlformats.org/drawingml/2006/chart">
            <c:chart xmlns:c="http://schemas.openxmlformats.org/drawingml/2006/chart" xmlns:r="http://schemas.openxmlformats.org/officeDocument/2006/relationships" r:id="rId36"/>
          </a:graphicData>
        </a:graphic>
      </p:graphicFrame>
      <p:cxnSp>
        <p:nvCxnSpPr>
          <p:cNvPr id="123" name="Straight Connector 122">
            <a:extLst>
              <a:ext uri="{FF2B5EF4-FFF2-40B4-BE49-F238E27FC236}">
                <a16:creationId xmlns:a16="http://schemas.microsoft.com/office/drawing/2014/main" id="{50FD5368-5594-2C22-4C98-856228E48741}"/>
              </a:ext>
            </a:extLst>
          </p:cNvPr>
          <p:cNvCxnSpPr/>
          <p:nvPr>
            <p:custDataLst>
              <p:tags r:id="rId3"/>
            </p:custDataLst>
          </p:nvPr>
        </p:nvCxnSpPr>
        <p:spPr bwMode="auto">
          <a:xfrm flipV="1">
            <a:off x="5047083" y="2817812"/>
            <a:ext cx="0" cy="85725"/>
          </a:xfrm>
          <a:prstGeom prst="line">
            <a:avLst/>
          </a:prstGeom>
          <a:ln w="6350"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AA0E5C79-559C-BA38-CB43-D9502B2F683E}"/>
              </a:ext>
            </a:extLst>
          </p:cNvPr>
          <p:cNvSpPr>
            <a:spLocks noGrp="1"/>
          </p:cNvSpPr>
          <p:nvPr>
            <p:custDataLst>
              <p:tags r:id="rId4"/>
            </p:custDataLst>
          </p:nvPr>
        </p:nvSpPr>
        <p:spPr bwMode="gray">
          <a:xfrm>
            <a:off x="1253980" y="5205412"/>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B5EE52BC-F823-40E8-93DB-CADB7056F059}" type="datetime'''''''''''''''''''''''''''1'''''''''''''''''''''''''''''''">
              <a:rPr lang="en-GB" sz="1000" noProof="0" smtClean="0">
                <a:solidFill>
                  <a:schemeClr val="bg1"/>
                </a:solidFill>
                <a:effectLst/>
                <a:latin typeface="+mj-lt"/>
              </a:rPr>
              <a:pPr marL="0" lvl="0" indent="0" algn="ctr">
                <a:spcBef>
                  <a:spcPct val="0"/>
                </a:spcBef>
                <a:spcAft>
                  <a:spcPct val="0"/>
                </a:spcAft>
                <a:buNone/>
              </a:pPr>
              <a:t>1</a:t>
            </a:fld>
            <a:endParaRPr lang="en-GB" sz="1000" noProof="0" dirty="0">
              <a:solidFill>
                <a:schemeClr val="bg1"/>
              </a:solidFill>
              <a:latin typeface="+mj-lt"/>
            </a:endParaRPr>
          </a:p>
        </p:txBody>
      </p:sp>
      <p:sp>
        <p:nvSpPr>
          <p:cNvPr id="52" name="Text Placeholder 2">
            <a:extLst>
              <a:ext uri="{FF2B5EF4-FFF2-40B4-BE49-F238E27FC236}">
                <a16:creationId xmlns:a16="http://schemas.microsoft.com/office/drawing/2014/main" id="{32A94A80-8850-0080-C118-BF6529D31910}"/>
              </a:ext>
            </a:extLst>
          </p:cNvPr>
          <p:cNvSpPr>
            <a:spLocks noGrp="1"/>
          </p:cNvSpPr>
          <p:nvPr>
            <p:custDataLst>
              <p:tags r:id="rId5"/>
            </p:custDataLst>
          </p:nvPr>
        </p:nvSpPr>
        <p:spPr bwMode="gray">
          <a:xfrm>
            <a:off x="1223509" y="322262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D5A9EC68-0458-4701-9D00-3587D86F96D4}" type="datetime'''''''''1''''''''''9'''''''''''''''">
              <a:rPr lang="en-GB" noProof="0" smtClean="0">
                <a:effectLst/>
              </a:rPr>
              <a:pPr marL="0" lvl="0" indent="0" algn="ctr">
                <a:spcBef>
                  <a:spcPct val="0"/>
                </a:spcBef>
                <a:spcAft>
                  <a:spcPct val="0"/>
                </a:spcAft>
                <a:buNone/>
              </a:pPr>
              <a:t>19</a:t>
            </a:fld>
            <a:endParaRPr lang="en-GB" noProof="0" dirty="0"/>
          </a:p>
        </p:txBody>
      </p:sp>
      <p:sp>
        <p:nvSpPr>
          <p:cNvPr id="55" name="Text Placeholder 2">
            <a:extLst>
              <a:ext uri="{FF2B5EF4-FFF2-40B4-BE49-F238E27FC236}">
                <a16:creationId xmlns:a16="http://schemas.microsoft.com/office/drawing/2014/main" id="{67CBF2DB-7192-F56D-E94B-12D0E9330A45}"/>
              </a:ext>
            </a:extLst>
          </p:cNvPr>
          <p:cNvSpPr>
            <a:spLocks noGrp="1"/>
          </p:cNvSpPr>
          <p:nvPr>
            <p:custDataLst>
              <p:tags r:id="rId6"/>
            </p:custDataLst>
          </p:nvPr>
        </p:nvSpPr>
        <p:spPr bwMode="gray">
          <a:xfrm>
            <a:off x="2457919" y="3227117"/>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F995D11A-4323-43AD-B503-7E92F357606A}" type="datetime'''''''''''1''''''9'''''''''''''">
              <a:rPr lang="en-GB" noProof="0" smtClean="0">
                <a:effectLst/>
              </a:rPr>
              <a:pPr marL="0" lvl="0" indent="0" algn="ctr">
                <a:spcBef>
                  <a:spcPct val="0"/>
                </a:spcBef>
                <a:spcAft>
                  <a:spcPct val="0"/>
                </a:spcAft>
                <a:buNone/>
              </a:pPr>
              <a:t>19</a:t>
            </a:fld>
            <a:endParaRPr lang="en-GB" noProof="0" dirty="0"/>
          </a:p>
        </p:txBody>
      </p:sp>
      <p:sp>
        <p:nvSpPr>
          <p:cNvPr id="58" name="Text Placeholder 2">
            <a:extLst>
              <a:ext uri="{FF2B5EF4-FFF2-40B4-BE49-F238E27FC236}">
                <a16:creationId xmlns:a16="http://schemas.microsoft.com/office/drawing/2014/main" id="{FF4ADD20-D912-4EF7-1E3A-C9E144AF0DED}"/>
              </a:ext>
            </a:extLst>
          </p:cNvPr>
          <p:cNvSpPr>
            <a:spLocks noGrp="1"/>
          </p:cNvSpPr>
          <p:nvPr>
            <p:custDataLst>
              <p:tags r:id="rId7"/>
            </p:custDataLst>
          </p:nvPr>
        </p:nvSpPr>
        <p:spPr bwMode="gray">
          <a:xfrm>
            <a:off x="3764341" y="46767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1142F3F6-2712-4DA8-BBD4-F494AB7FFFDA}" type="datetime'''''''''''''''''''''''''''''''''''''''''''4'''''''''''''">
              <a:rPr lang="en-GB" noProof="0" smtClean="0">
                <a:effectLst/>
              </a:rPr>
              <a:pPr marL="0" lvl="0" indent="0" algn="ctr">
                <a:spcBef>
                  <a:spcPct val="0"/>
                </a:spcBef>
                <a:spcAft>
                  <a:spcPct val="0"/>
                </a:spcAft>
                <a:buNone/>
              </a:pPr>
              <a:t>4</a:t>
            </a:fld>
            <a:endParaRPr lang="en-GB" noProof="0" dirty="0"/>
          </a:p>
        </p:txBody>
      </p:sp>
      <p:sp>
        <p:nvSpPr>
          <p:cNvPr id="59" name="Text Placeholder 2">
            <a:extLst>
              <a:ext uri="{FF2B5EF4-FFF2-40B4-BE49-F238E27FC236}">
                <a16:creationId xmlns:a16="http://schemas.microsoft.com/office/drawing/2014/main" id="{6944E857-39C0-DDA6-D814-AEE208887BA8}"/>
              </a:ext>
            </a:extLst>
          </p:cNvPr>
          <p:cNvSpPr>
            <a:spLocks noGrp="1"/>
          </p:cNvSpPr>
          <p:nvPr>
            <p:custDataLst>
              <p:tags r:id="rId8"/>
            </p:custDataLst>
          </p:nvPr>
        </p:nvSpPr>
        <p:spPr bwMode="gray">
          <a:xfrm>
            <a:off x="4918868" y="2941637"/>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B83F281B-3547-4173-B3D2-4F3687B2409B}" type="datetime'''''''''''''2''''''''''''''''2'''''''''''''''''''''''''">
              <a:rPr lang="en-GB" noProof="0" smtClean="0">
                <a:effectLst/>
              </a:rPr>
              <a:pPr marL="0" lvl="0" indent="0" algn="ctr">
                <a:spcBef>
                  <a:spcPct val="0"/>
                </a:spcBef>
                <a:spcAft>
                  <a:spcPct val="0"/>
                </a:spcAft>
                <a:buNone/>
              </a:pPr>
              <a:t>22</a:t>
            </a:fld>
            <a:endParaRPr lang="en-GB" noProof="0" dirty="0"/>
          </a:p>
        </p:txBody>
      </p:sp>
      <p:sp>
        <p:nvSpPr>
          <p:cNvPr id="60" name="Text Placeholder 2">
            <a:extLst>
              <a:ext uri="{FF2B5EF4-FFF2-40B4-BE49-F238E27FC236}">
                <a16:creationId xmlns:a16="http://schemas.microsoft.com/office/drawing/2014/main" id="{C867AEB4-229D-0E81-6D1C-9845E664F530}"/>
              </a:ext>
            </a:extLst>
          </p:cNvPr>
          <p:cNvSpPr>
            <a:spLocks noGrp="1"/>
          </p:cNvSpPr>
          <p:nvPr>
            <p:custDataLst>
              <p:tags r:id="rId9"/>
            </p:custDataLst>
          </p:nvPr>
        </p:nvSpPr>
        <p:spPr bwMode="gray">
          <a:xfrm>
            <a:off x="6154505" y="3008312"/>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554EEEB2-F52C-48E0-9110-7CC76E80EF82}" type="datetime'''''''''2''2'''''''''''''''''''''''''">
              <a:rPr lang="en-GB" noProof="0" smtClean="0">
                <a:effectLst/>
              </a:rPr>
              <a:pPr marL="0" lvl="0" indent="0" algn="ctr">
                <a:spcBef>
                  <a:spcPct val="0"/>
                </a:spcBef>
                <a:spcAft>
                  <a:spcPct val="0"/>
                </a:spcAft>
                <a:buNone/>
              </a:pPr>
              <a:t>22</a:t>
            </a:fld>
            <a:endParaRPr lang="en-GB" noProof="0" dirty="0"/>
          </a:p>
        </p:txBody>
      </p:sp>
      <p:sp>
        <p:nvSpPr>
          <p:cNvPr id="61" name="Text Placeholder 2">
            <a:extLst>
              <a:ext uri="{FF2B5EF4-FFF2-40B4-BE49-F238E27FC236}">
                <a16:creationId xmlns:a16="http://schemas.microsoft.com/office/drawing/2014/main" id="{3F143A60-3159-0FF2-A788-B4A403B5366E}"/>
              </a:ext>
            </a:extLst>
          </p:cNvPr>
          <p:cNvSpPr>
            <a:spLocks noGrp="1"/>
          </p:cNvSpPr>
          <p:nvPr>
            <p:custDataLst>
              <p:tags r:id="rId10"/>
            </p:custDataLst>
          </p:nvPr>
        </p:nvSpPr>
        <p:spPr bwMode="gray">
          <a:xfrm>
            <a:off x="7404894" y="444182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EAD7E8B8-9A81-4D1D-8517-9BF707B279D8}" type="datetime'''''''''''''''''''7'''''''''''''''''''''''''''''">
              <a:rPr lang="en-GB" noProof="0" smtClean="0">
                <a:effectLst/>
              </a:rPr>
              <a:pPr marL="0" lvl="0" indent="0" algn="ctr">
                <a:spcBef>
                  <a:spcPct val="0"/>
                </a:spcBef>
                <a:spcAft>
                  <a:spcPct val="0"/>
                </a:spcAft>
                <a:buNone/>
              </a:pPr>
              <a:t>7</a:t>
            </a:fld>
            <a:endParaRPr lang="en-GB" noProof="0" dirty="0"/>
          </a:p>
        </p:txBody>
      </p:sp>
      <p:sp>
        <p:nvSpPr>
          <p:cNvPr id="72" name="Rectangle 71">
            <a:extLst>
              <a:ext uri="{FF2B5EF4-FFF2-40B4-BE49-F238E27FC236}">
                <a16:creationId xmlns:a16="http://schemas.microsoft.com/office/drawing/2014/main" id="{30E77D25-9025-3C39-D3DB-E649F80BE143}"/>
              </a:ext>
            </a:extLst>
          </p:cNvPr>
          <p:cNvSpPr/>
          <p:nvPr>
            <p:custDataLst>
              <p:tags r:id="rId11"/>
            </p:custDataLst>
          </p:nvPr>
        </p:nvSpPr>
        <p:spPr bwMode="auto">
          <a:xfrm>
            <a:off x="3182142" y="6187192"/>
            <a:ext cx="72000" cy="7200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chemeClr val="bg2"/>
              </a:solidFill>
              <a:highlight>
                <a:srgbClr val="8997A4"/>
              </a:highlight>
            </a:endParaRPr>
          </a:p>
        </p:txBody>
      </p:sp>
      <p:sp>
        <p:nvSpPr>
          <p:cNvPr id="73" name="Rectangle 72">
            <a:extLst>
              <a:ext uri="{FF2B5EF4-FFF2-40B4-BE49-F238E27FC236}">
                <a16:creationId xmlns:a16="http://schemas.microsoft.com/office/drawing/2014/main" id="{7E52CDDF-2A6F-D0DD-EA0C-02E5AEA7EE70}"/>
              </a:ext>
            </a:extLst>
          </p:cNvPr>
          <p:cNvSpPr/>
          <p:nvPr>
            <p:custDataLst>
              <p:tags r:id="rId12"/>
            </p:custDataLst>
          </p:nvPr>
        </p:nvSpPr>
        <p:spPr bwMode="auto">
          <a:xfrm>
            <a:off x="4052274" y="6185412"/>
            <a:ext cx="72000" cy="720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chemeClr val="tx1"/>
              </a:solidFill>
            </a:endParaRPr>
          </a:p>
        </p:txBody>
      </p:sp>
      <p:sp>
        <p:nvSpPr>
          <p:cNvPr id="76" name="Rectangle 75">
            <a:extLst>
              <a:ext uri="{FF2B5EF4-FFF2-40B4-BE49-F238E27FC236}">
                <a16:creationId xmlns:a16="http://schemas.microsoft.com/office/drawing/2014/main" id="{4B9A0738-8220-7A14-8450-EEFB3117A873}"/>
              </a:ext>
            </a:extLst>
          </p:cNvPr>
          <p:cNvSpPr/>
          <p:nvPr>
            <p:custDataLst>
              <p:tags r:id="rId13"/>
            </p:custDataLst>
          </p:nvPr>
        </p:nvSpPr>
        <p:spPr bwMode="auto">
          <a:xfrm>
            <a:off x="5214655" y="6185412"/>
            <a:ext cx="72000" cy="7200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chemeClr val="tx1"/>
              </a:solidFill>
            </a:endParaRPr>
          </a:p>
        </p:txBody>
      </p:sp>
      <p:sp>
        <p:nvSpPr>
          <p:cNvPr id="47" name="Text Placeholder 2">
            <a:extLst>
              <a:ext uri="{FF2B5EF4-FFF2-40B4-BE49-F238E27FC236}">
                <a16:creationId xmlns:a16="http://schemas.microsoft.com/office/drawing/2014/main" id="{6813C061-D0C9-4E73-79B2-B3A40B51AAC2}"/>
              </a:ext>
            </a:extLst>
          </p:cNvPr>
          <p:cNvSpPr>
            <a:spLocks noGrp="1"/>
          </p:cNvSpPr>
          <p:nvPr>
            <p:custDataLst>
              <p:tags r:id="rId14"/>
            </p:custDataLst>
          </p:nvPr>
        </p:nvSpPr>
        <p:spPr bwMode="auto">
          <a:xfrm>
            <a:off x="3290093" y="6115050"/>
            <a:ext cx="469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spcBef>
                <a:spcPct val="0"/>
              </a:spcBef>
              <a:spcAft>
                <a:spcPct val="0"/>
              </a:spcAft>
              <a:buNone/>
            </a:pPr>
            <a:fld id="{011E8745-EFBB-4FCE-ABB3-EB1F4667F530}" type="datetime'''''''''''''''''Di''''''''e''''s''e''''''l'''''''''''''">
              <a:rPr lang="en-GB" sz="1000" noProof="0" smtClean="0">
                <a:effectLst/>
              </a:rPr>
              <a:pPr marL="0" lvl="0" indent="0">
                <a:spcBef>
                  <a:spcPct val="0"/>
                </a:spcBef>
                <a:spcAft>
                  <a:spcPct val="0"/>
                </a:spcAft>
                <a:buNone/>
              </a:pPr>
              <a:t>Diesel</a:t>
            </a:fld>
            <a:endParaRPr lang="en-GB" sz="1000" noProof="0" dirty="0"/>
          </a:p>
        </p:txBody>
      </p:sp>
      <p:sp>
        <p:nvSpPr>
          <p:cNvPr id="48" name="Text Placeholder 2">
            <a:extLst>
              <a:ext uri="{FF2B5EF4-FFF2-40B4-BE49-F238E27FC236}">
                <a16:creationId xmlns:a16="http://schemas.microsoft.com/office/drawing/2014/main" id="{DC2E76FC-4AB2-DED8-AB3C-2E94ED8B6110}"/>
              </a:ext>
            </a:extLst>
          </p:cNvPr>
          <p:cNvSpPr>
            <a:spLocks noGrp="1"/>
          </p:cNvSpPr>
          <p:nvPr>
            <p:custDataLst>
              <p:tags r:id="rId15"/>
            </p:custDataLst>
          </p:nvPr>
        </p:nvSpPr>
        <p:spPr bwMode="auto">
          <a:xfrm>
            <a:off x="4163218" y="6115050"/>
            <a:ext cx="755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spcBef>
                <a:spcPct val="0"/>
              </a:spcBef>
              <a:spcAft>
                <a:spcPct val="0"/>
              </a:spcAft>
              <a:buNone/>
            </a:pPr>
            <a:fld id="{A0CB3CF1-DD3C-4DF2-81C9-051069A30BBE}" type="datetime'''''''''''E''''lec''''t''''''''r''i''cit''''''''''''y'''">
              <a:rPr lang="en-GB" sz="1000" noProof="0" smtClean="0">
                <a:effectLst/>
              </a:rPr>
              <a:pPr marL="0" lvl="0" indent="0">
                <a:spcBef>
                  <a:spcPct val="0"/>
                </a:spcBef>
                <a:spcAft>
                  <a:spcPct val="0"/>
                </a:spcAft>
                <a:buNone/>
              </a:pPr>
              <a:t>Electricity</a:t>
            </a:fld>
            <a:endParaRPr lang="en-GB" sz="1000" noProof="0" dirty="0"/>
          </a:p>
        </p:txBody>
      </p:sp>
      <p:sp>
        <p:nvSpPr>
          <p:cNvPr id="49" name="Text Placeholder 2">
            <a:extLst>
              <a:ext uri="{FF2B5EF4-FFF2-40B4-BE49-F238E27FC236}">
                <a16:creationId xmlns:a16="http://schemas.microsoft.com/office/drawing/2014/main" id="{C29A3D77-02D3-E300-53BA-8AD7C41FD352}"/>
              </a:ext>
            </a:extLst>
          </p:cNvPr>
          <p:cNvSpPr>
            <a:spLocks noGrp="1"/>
          </p:cNvSpPr>
          <p:nvPr>
            <p:custDataLst>
              <p:tags r:id="rId16"/>
            </p:custDataLst>
          </p:nvPr>
        </p:nvSpPr>
        <p:spPr bwMode="auto">
          <a:xfrm>
            <a:off x="5322093" y="6115050"/>
            <a:ext cx="3556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spcBef>
                <a:spcPct val="0"/>
              </a:spcBef>
              <a:spcAft>
                <a:spcPct val="0"/>
              </a:spcAft>
              <a:buNone/>
            </a:pPr>
            <a:fld id="{E77B9A14-8E72-41C6-99F3-F12B4E3187BD}" type="datetime'''''''''''H''''''''''''V''''''''''''''''''O'">
              <a:rPr lang="en-GB" sz="1000" noProof="0" smtClean="0">
                <a:effectLst/>
              </a:rPr>
              <a:pPr marL="0" lvl="0" indent="0">
                <a:spcBef>
                  <a:spcPct val="0"/>
                </a:spcBef>
                <a:spcAft>
                  <a:spcPct val="0"/>
                </a:spcAft>
                <a:buNone/>
              </a:pPr>
              <a:t>HVO</a:t>
            </a:fld>
            <a:endParaRPr lang="en-GB" sz="1000" noProof="0" dirty="0"/>
          </a:p>
        </p:txBody>
      </p:sp>
      <p:cxnSp>
        <p:nvCxnSpPr>
          <p:cNvPr id="8" name="Straight Arrow Connector 38">
            <a:extLst>
              <a:ext uri="{FF2B5EF4-FFF2-40B4-BE49-F238E27FC236}">
                <a16:creationId xmlns:a16="http://schemas.microsoft.com/office/drawing/2014/main" id="{0DA58848-08DD-4166-3B47-22CC196FE97F}"/>
              </a:ext>
            </a:extLst>
          </p:cNvPr>
          <p:cNvCxnSpPr>
            <a:cxnSpLocks/>
          </p:cNvCxnSpPr>
          <p:nvPr/>
        </p:nvCxnSpPr>
        <p:spPr>
          <a:xfrm>
            <a:off x="5042693" y="2817812"/>
            <a:ext cx="2436813" cy="1563429"/>
          </a:xfrm>
          <a:prstGeom prst="bentConnector3">
            <a:avLst>
              <a:gd name="adj1" fmla="val 10073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38">
            <a:extLst>
              <a:ext uri="{FF2B5EF4-FFF2-40B4-BE49-F238E27FC236}">
                <a16:creationId xmlns:a16="http://schemas.microsoft.com/office/drawing/2014/main" id="{E769B367-716A-669C-7566-48E6D4D29AC7}"/>
              </a:ext>
            </a:extLst>
          </p:cNvPr>
          <p:cNvCxnSpPr>
            <a:cxnSpLocks/>
          </p:cNvCxnSpPr>
          <p:nvPr/>
        </p:nvCxnSpPr>
        <p:spPr>
          <a:xfrm>
            <a:off x="6278330" y="2820987"/>
            <a:ext cx="0" cy="13017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025" name="Text Placeholder 2">
            <a:extLst>
              <a:ext uri="{FF2B5EF4-FFF2-40B4-BE49-F238E27FC236}">
                <a16:creationId xmlns:a16="http://schemas.microsoft.com/office/drawing/2014/main" id="{D1DCA685-14AE-5493-2C77-8600EBCE13C1}"/>
              </a:ext>
            </a:extLst>
          </p:cNvPr>
          <p:cNvSpPr>
            <a:spLocks noGrp="1"/>
          </p:cNvSpPr>
          <p:nvPr>
            <p:custDataLst>
              <p:tags r:id="rId17"/>
            </p:custDataLst>
          </p:nvPr>
        </p:nvSpPr>
        <p:spPr bwMode="auto">
          <a:xfrm>
            <a:off x="5552372" y="2616143"/>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2BA56006-7AB3-443B-B555-8CAE203E7107}" type="datetime'''''''''-''''''''''''''''''''''''''''''3''''%'''''''">
              <a:rPr lang="en-GB" sz="1200" noProof="0" smtClean="0">
                <a:effectLst/>
              </a:rPr>
              <a:pPr marL="0" lvl="0" indent="0" algn="ctr">
                <a:spcBef>
                  <a:spcPct val="0"/>
                </a:spcBef>
                <a:spcAft>
                  <a:spcPct val="0"/>
                </a:spcAft>
                <a:buNone/>
              </a:pPr>
              <a:t>-3%</a:t>
            </a:fld>
            <a:endParaRPr lang="en-GB" sz="1200" noProof="0" dirty="0"/>
          </a:p>
        </p:txBody>
      </p:sp>
      <p:sp>
        <p:nvSpPr>
          <p:cNvPr id="30" name="Text Placeholder 2">
            <a:extLst>
              <a:ext uri="{FF2B5EF4-FFF2-40B4-BE49-F238E27FC236}">
                <a16:creationId xmlns:a16="http://schemas.microsoft.com/office/drawing/2014/main" id="{857C89A0-C7C4-169F-C2BD-19BE66C8FEAB}"/>
              </a:ext>
            </a:extLst>
          </p:cNvPr>
          <p:cNvSpPr>
            <a:spLocks noGrp="1"/>
          </p:cNvSpPr>
          <p:nvPr>
            <p:custDataLst>
              <p:tags r:id="rId18"/>
            </p:custDataLst>
          </p:nvPr>
        </p:nvSpPr>
        <p:spPr bwMode="gray">
          <a:xfrm>
            <a:off x="2473889" y="5205412"/>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B5EE52BC-F823-40E8-93DB-CADB7056F059}" type="datetime'''''''''''''''''''''''''''1'''''''''''''''''''''''''''''''">
              <a:rPr lang="en-GB" sz="1000" noProof="0" smtClean="0">
                <a:solidFill>
                  <a:schemeClr val="bg1"/>
                </a:solidFill>
                <a:effectLst/>
                <a:latin typeface="+mj-lt"/>
              </a:rPr>
              <a:pPr marL="0" lvl="0" indent="0" algn="ctr">
                <a:spcBef>
                  <a:spcPct val="0"/>
                </a:spcBef>
                <a:spcAft>
                  <a:spcPct val="0"/>
                </a:spcAft>
                <a:buNone/>
              </a:pPr>
              <a:t>1</a:t>
            </a:fld>
            <a:endParaRPr lang="en-GB" sz="1000" noProof="0" dirty="0">
              <a:solidFill>
                <a:schemeClr val="bg1"/>
              </a:solidFill>
              <a:latin typeface="+mj-lt"/>
            </a:endParaRPr>
          </a:p>
        </p:txBody>
      </p:sp>
      <p:sp>
        <p:nvSpPr>
          <p:cNvPr id="31" name="Text Placeholder 2">
            <a:extLst>
              <a:ext uri="{FF2B5EF4-FFF2-40B4-BE49-F238E27FC236}">
                <a16:creationId xmlns:a16="http://schemas.microsoft.com/office/drawing/2014/main" id="{1E6A984D-FE9D-51E3-02B4-2C99BE8D8A8C}"/>
              </a:ext>
            </a:extLst>
          </p:cNvPr>
          <p:cNvSpPr>
            <a:spLocks noGrp="1"/>
          </p:cNvSpPr>
          <p:nvPr>
            <p:custDataLst>
              <p:tags r:id="rId19"/>
            </p:custDataLst>
          </p:nvPr>
        </p:nvSpPr>
        <p:spPr bwMode="gray">
          <a:xfrm>
            <a:off x="3725540" y="4879390"/>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a:spcBef>
                <a:spcPct val="0"/>
              </a:spcBef>
              <a:spcAft>
                <a:spcPct val="0"/>
              </a:spcAft>
              <a:buNone/>
            </a:pPr>
            <a:fld id="{B5EE52BC-F823-40E8-93DB-CADB7056F059}" type="datetime'''''''''''''''''''''''''''1'''''''''''''''''''''''''''''''">
              <a:rPr lang="en-GB" sz="1000" noProof="0" smtClean="0">
                <a:solidFill>
                  <a:schemeClr val="bg1"/>
                </a:solidFill>
                <a:effectLst/>
                <a:latin typeface="+mj-lt"/>
              </a:rPr>
              <a:pPr marL="0" lvl="0" indent="0" algn="ctr">
                <a:spcBef>
                  <a:spcPct val="0"/>
                </a:spcBef>
                <a:spcAft>
                  <a:spcPct val="0"/>
                </a:spcAft>
                <a:buNone/>
              </a:pPr>
              <a:t>1</a:t>
            </a:fld>
            <a:endParaRPr lang="en-GB" sz="1000" noProof="0" dirty="0">
              <a:solidFill>
                <a:schemeClr val="bg1"/>
              </a:solidFill>
              <a:latin typeface="+mj-lt"/>
            </a:endParaRPr>
          </a:p>
        </p:txBody>
      </p:sp>
      <p:sp>
        <p:nvSpPr>
          <p:cNvPr id="35" name="Text Placeholder 2">
            <a:extLst>
              <a:ext uri="{FF2B5EF4-FFF2-40B4-BE49-F238E27FC236}">
                <a16:creationId xmlns:a16="http://schemas.microsoft.com/office/drawing/2014/main" id="{43CF88EE-EDE1-7644-DEBC-CD9D28A8B9A4}"/>
              </a:ext>
            </a:extLst>
          </p:cNvPr>
          <p:cNvSpPr>
            <a:spLocks noGrp="1"/>
          </p:cNvSpPr>
          <p:nvPr>
            <p:custDataLst>
              <p:tags r:id="rId20"/>
            </p:custDataLst>
          </p:nvPr>
        </p:nvSpPr>
        <p:spPr bwMode="auto">
          <a:xfrm>
            <a:off x="6780549" y="2616143"/>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200"/>
              <a:t>-69%</a:t>
            </a:r>
            <a:endParaRPr lang="en-GB" sz="1200" noProof="0" dirty="0"/>
          </a:p>
        </p:txBody>
      </p:sp>
      <p:sp>
        <p:nvSpPr>
          <p:cNvPr id="37" name="Text Placeholder 2">
            <a:extLst>
              <a:ext uri="{FF2B5EF4-FFF2-40B4-BE49-F238E27FC236}">
                <a16:creationId xmlns:a16="http://schemas.microsoft.com/office/drawing/2014/main" id="{B79945D3-F90D-21E9-BF9A-99467D463091}"/>
              </a:ext>
            </a:extLst>
          </p:cNvPr>
          <p:cNvSpPr>
            <a:spLocks noGrp="1"/>
          </p:cNvSpPr>
          <p:nvPr>
            <p:custDataLst>
              <p:tags r:id="rId21"/>
            </p:custDataLst>
          </p:nvPr>
        </p:nvSpPr>
        <p:spPr bwMode="gray">
          <a:xfrm>
            <a:off x="4953715" y="4217781"/>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9</a:t>
            </a:r>
            <a:endParaRPr lang="en-GB" sz="1000" noProof="0" dirty="0">
              <a:solidFill>
                <a:schemeClr val="bg1"/>
              </a:solidFill>
              <a:latin typeface="+mj-lt"/>
            </a:endParaRPr>
          </a:p>
        </p:txBody>
      </p:sp>
      <p:sp>
        <p:nvSpPr>
          <p:cNvPr id="38" name="Text Placeholder 2">
            <a:extLst>
              <a:ext uri="{FF2B5EF4-FFF2-40B4-BE49-F238E27FC236}">
                <a16:creationId xmlns:a16="http://schemas.microsoft.com/office/drawing/2014/main" id="{DA1CDC49-3191-3788-CF75-35CE4D437B55}"/>
              </a:ext>
            </a:extLst>
          </p:cNvPr>
          <p:cNvSpPr>
            <a:spLocks noGrp="1"/>
          </p:cNvSpPr>
          <p:nvPr>
            <p:custDataLst>
              <p:tags r:id="rId22"/>
            </p:custDataLst>
          </p:nvPr>
        </p:nvSpPr>
        <p:spPr bwMode="gray">
          <a:xfrm>
            <a:off x="4953715"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4</a:t>
            </a:r>
            <a:endParaRPr lang="en-GB" sz="1000" noProof="0" dirty="0">
              <a:solidFill>
                <a:schemeClr val="bg1"/>
              </a:solidFill>
              <a:latin typeface="+mj-lt"/>
            </a:endParaRPr>
          </a:p>
        </p:txBody>
      </p:sp>
      <p:sp>
        <p:nvSpPr>
          <p:cNvPr id="39" name="Text Placeholder 2">
            <a:extLst>
              <a:ext uri="{FF2B5EF4-FFF2-40B4-BE49-F238E27FC236}">
                <a16:creationId xmlns:a16="http://schemas.microsoft.com/office/drawing/2014/main" id="{46269636-AD16-4C81-7C25-B3010CE30C5B}"/>
              </a:ext>
            </a:extLst>
          </p:cNvPr>
          <p:cNvSpPr>
            <a:spLocks noGrp="1"/>
          </p:cNvSpPr>
          <p:nvPr>
            <p:custDataLst>
              <p:tags r:id="rId23"/>
            </p:custDataLst>
          </p:nvPr>
        </p:nvSpPr>
        <p:spPr bwMode="gray">
          <a:xfrm>
            <a:off x="6170330" y="4217781"/>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18</a:t>
            </a:r>
            <a:endParaRPr lang="en-GB" sz="1000" noProof="0" dirty="0">
              <a:solidFill>
                <a:schemeClr val="bg1"/>
              </a:solidFill>
              <a:latin typeface="+mj-lt"/>
            </a:endParaRPr>
          </a:p>
        </p:txBody>
      </p:sp>
      <p:sp>
        <p:nvSpPr>
          <p:cNvPr id="42" name="Text Placeholder 2">
            <a:extLst>
              <a:ext uri="{FF2B5EF4-FFF2-40B4-BE49-F238E27FC236}">
                <a16:creationId xmlns:a16="http://schemas.microsoft.com/office/drawing/2014/main" id="{6B80FC37-F17F-D1A9-FC42-5B5F936841FC}"/>
              </a:ext>
            </a:extLst>
          </p:cNvPr>
          <p:cNvSpPr>
            <a:spLocks noGrp="1"/>
          </p:cNvSpPr>
          <p:nvPr>
            <p:custDataLst>
              <p:tags r:id="rId24"/>
            </p:custDataLst>
          </p:nvPr>
        </p:nvSpPr>
        <p:spPr bwMode="gray">
          <a:xfrm>
            <a:off x="6170330"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4</a:t>
            </a:r>
            <a:endParaRPr lang="en-GB" sz="1000" noProof="0" dirty="0">
              <a:solidFill>
                <a:schemeClr val="bg1"/>
              </a:solidFill>
              <a:latin typeface="+mj-lt"/>
            </a:endParaRPr>
          </a:p>
        </p:txBody>
      </p:sp>
      <p:sp>
        <p:nvSpPr>
          <p:cNvPr id="46" name="Text Placeholder 2">
            <a:extLst>
              <a:ext uri="{FF2B5EF4-FFF2-40B4-BE49-F238E27FC236}">
                <a16:creationId xmlns:a16="http://schemas.microsoft.com/office/drawing/2014/main" id="{2A636D5F-3C3B-C04A-1DB1-CE2877A8DFF5}"/>
              </a:ext>
            </a:extLst>
          </p:cNvPr>
          <p:cNvSpPr>
            <a:spLocks noGrp="1"/>
          </p:cNvSpPr>
          <p:nvPr>
            <p:custDataLst>
              <p:tags r:id="rId25"/>
            </p:custDataLst>
          </p:nvPr>
        </p:nvSpPr>
        <p:spPr bwMode="gray">
          <a:xfrm>
            <a:off x="7388013"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3</a:t>
            </a:r>
            <a:endParaRPr lang="en-GB" sz="1000" noProof="0" dirty="0">
              <a:solidFill>
                <a:schemeClr val="bg1"/>
              </a:solidFill>
              <a:latin typeface="+mj-lt"/>
            </a:endParaRPr>
          </a:p>
        </p:txBody>
      </p:sp>
      <p:sp>
        <p:nvSpPr>
          <p:cNvPr id="51" name="Text Placeholder 2">
            <a:extLst>
              <a:ext uri="{FF2B5EF4-FFF2-40B4-BE49-F238E27FC236}">
                <a16:creationId xmlns:a16="http://schemas.microsoft.com/office/drawing/2014/main" id="{E949B65B-B0DF-8D59-5840-DA67A9877978}"/>
              </a:ext>
            </a:extLst>
          </p:cNvPr>
          <p:cNvSpPr>
            <a:spLocks noGrp="1"/>
          </p:cNvSpPr>
          <p:nvPr>
            <p:custDataLst>
              <p:tags r:id="rId26"/>
            </p:custDataLst>
          </p:nvPr>
        </p:nvSpPr>
        <p:spPr bwMode="gray">
          <a:xfrm>
            <a:off x="7388013" y="477139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4</a:t>
            </a:r>
            <a:endParaRPr lang="en-GB" sz="1000" noProof="0" dirty="0">
              <a:solidFill>
                <a:schemeClr val="bg1"/>
              </a:solidFill>
              <a:latin typeface="+mj-lt"/>
            </a:endParaRPr>
          </a:p>
        </p:txBody>
      </p:sp>
      <p:cxnSp>
        <p:nvCxnSpPr>
          <p:cNvPr id="53" name="Straight Connector 52">
            <a:extLst>
              <a:ext uri="{FF2B5EF4-FFF2-40B4-BE49-F238E27FC236}">
                <a16:creationId xmlns:a16="http://schemas.microsoft.com/office/drawing/2014/main" id="{F25A64C9-8EAE-1F40-E150-DB1E08ECB59F}"/>
              </a:ext>
            </a:extLst>
          </p:cNvPr>
          <p:cNvCxnSpPr/>
          <p:nvPr>
            <p:custDataLst>
              <p:tags r:id="rId27"/>
            </p:custDataLst>
          </p:nvPr>
        </p:nvCxnSpPr>
        <p:spPr bwMode="auto">
          <a:xfrm flipV="1">
            <a:off x="1375327" y="3069390"/>
            <a:ext cx="0" cy="85725"/>
          </a:xfrm>
          <a:prstGeom prst="line">
            <a:avLst/>
          </a:prstGeom>
          <a:ln w="6350"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Arrow Connector 38">
            <a:extLst>
              <a:ext uri="{FF2B5EF4-FFF2-40B4-BE49-F238E27FC236}">
                <a16:creationId xmlns:a16="http://schemas.microsoft.com/office/drawing/2014/main" id="{5FF57316-4670-C9F5-DF19-526F862ED913}"/>
              </a:ext>
            </a:extLst>
          </p:cNvPr>
          <p:cNvCxnSpPr>
            <a:cxnSpLocks/>
          </p:cNvCxnSpPr>
          <p:nvPr/>
        </p:nvCxnSpPr>
        <p:spPr>
          <a:xfrm>
            <a:off x="1370937" y="3069390"/>
            <a:ext cx="2436813" cy="1563429"/>
          </a:xfrm>
          <a:prstGeom prst="bentConnector3">
            <a:avLst>
              <a:gd name="adj1" fmla="val 10073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Arrow Connector 38">
            <a:extLst>
              <a:ext uri="{FF2B5EF4-FFF2-40B4-BE49-F238E27FC236}">
                <a16:creationId xmlns:a16="http://schemas.microsoft.com/office/drawing/2014/main" id="{837D9076-4189-C4FD-85B1-132B0CCECFE5}"/>
              </a:ext>
            </a:extLst>
          </p:cNvPr>
          <p:cNvCxnSpPr>
            <a:cxnSpLocks/>
          </p:cNvCxnSpPr>
          <p:nvPr/>
        </p:nvCxnSpPr>
        <p:spPr>
          <a:xfrm>
            <a:off x="2606574" y="3072565"/>
            <a:ext cx="0" cy="13017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6" name="Text Placeholder 2">
            <a:extLst>
              <a:ext uri="{FF2B5EF4-FFF2-40B4-BE49-F238E27FC236}">
                <a16:creationId xmlns:a16="http://schemas.microsoft.com/office/drawing/2014/main" id="{4DEA53FD-F288-1AFA-D356-B58C395827C2}"/>
              </a:ext>
            </a:extLst>
          </p:cNvPr>
          <p:cNvSpPr>
            <a:spLocks noGrp="1"/>
          </p:cNvSpPr>
          <p:nvPr>
            <p:custDataLst>
              <p:tags r:id="rId28"/>
            </p:custDataLst>
          </p:nvPr>
        </p:nvSpPr>
        <p:spPr bwMode="auto">
          <a:xfrm>
            <a:off x="1775831" y="2867586"/>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200"/>
              <a:t>-4%</a:t>
            </a:r>
            <a:endParaRPr lang="en-GB" sz="1200" noProof="0" dirty="0"/>
          </a:p>
        </p:txBody>
      </p:sp>
      <p:sp>
        <p:nvSpPr>
          <p:cNvPr id="67" name="Text Placeholder 2">
            <a:extLst>
              <a:ext uri="{FF2B5EF4-FFF2-40B4-BE49-F238E27FC236}">
                <a16:creationId xmlns:a16="http://schemas.microsoft.com/office/drawing/2014/main" id="{4EE8A8C1-8597-4876-E09C-D3857007EDEC}"/>
              </a:ext>
            </a:extLst>
          </p:cNvPr>
          <p:cNvSpPr>
            <a:spLocks noGrp="1"/>
          </p:cNvSpPr>
          <p:nvPr>
            <p:custDataLst>
              <p:tags r:id="rId29"/>
            </p:custDataLst>
          </p:nvPr>
        </p:nvSpPr>
        <p:spPr bwMode="auto">
          <a:xfrm>
            <a:off x="3004008" y="2867586"/>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200"/>
              <a:t>-80%</a:t>
            </a:r>
            <a:endParaRPr lang="en-GB" sz="1200" noProof="0" dirty="0"/>
          </a:p>
        </p:txBody>
      </p:sp>
      <p:sp>
        <p:nvSpPr>
          <p:cNvPr id="68" name="Text Placeholder 2">
            <a:extLst>
              <a:ext uri="{FF2B5EF4-FFF2-40B4-BE49-F238E27FC236}">
                <a16:creationId xmlns:a16="http://schemas.microsoft.com/office/drawing/2014/main" id="{C5291F00-E24B-B139-6024-C0D5B097E97E}"/>
              </a:ext>
            </a:extLst>
          </p:cNvPr>
          <p:cNvSpPr>
            <a:spLocks noGrp="1"/>
          </p:cNvSpPr>
          <p:nvPr>
            <p:custDataLst>
              <p:tags r:id="rId30"/>
            </p:custDataLst>
          </p:nvPr>
        </p:nvSpPr>
        <p:spPr bwMode="gray">
          <a:xfrm>
            <a:off x="3717029"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3</a:t>
            </a:r>
            <a:endParaRPr lang="en-GB" sz="1000" noProof="0" dirty="0">
              <a:solidFill>
                <a:schemeClr val="bg1"/>
              </a:solidFill>
              <a:latin typeface="+mj-lt"/>
            </a:endParaRPr>
          </a:p>
        </p:txBody>
      </p:sp>
      <p:sp>
        <p:nvSpPr>
          <p:cNvPr id="69" name="Text Placeholder 2">
            <a:extLst>
              <a:ext uri="{FF2B5EF4-FFF2-40B4-BE49-F238E27FC236}">
                <a16:creationId xmlns:a16="http://schemas.microsoft.com/office/drawing/2014/main" id="{BC445731-C780-0BEF-FA30-18CB8C6DD646}"/>
              </a:ext>
            </a:extLst>
          </p:cNvPr>
          <p:cNvSpPr>
            <a:spLocks noGrp="1"/>
          </p:cNvSpPr>
          <p:nvPr>
            <p:custDataLst>
              <p:tags r:id="rId31"/>
            </p:custDataLst>
          </p:nvPr>
        </p:nvSpPr>
        <p:spPr bwMode="gray">
          <a:xfrm>
            <a:off x="1257274" y="431631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9</a:t>
            </a:r>
            <a:endParaRPr lang="en-GB" sz="1000" noProof="0" dirty="0">
              <a:solidFill>
                <a:schemeClr val="bg1"/>
              </a:solidFill>
              <a:latin typeface="+mj-lt"/>
            </a:endParaRPr>
          </a:p>
        </p:txBody>
      </p:sp>
      <p:sp>
        <p:nvSpPr>
          <p:cNvPr id="70" name="Text Placeholder 2">
            <a:extLst>
              <a:ext uri="{FF2B5EF4-FFF2-40B4-BE49-F238E27FC236}">
                <a16:creationId xmlns:a16="http://schemas.microsoft.com/office/drawing/2014/main" id="{A55EDF81-329C-C056-052F-EA7F81BB936F}"/>
              </a:ext>
            </a:extLst>
          </p:cNvPr>
          <p:cNvSpPr>
            <a:spLocks noGrp="1"/>
          </p:cNvSpPr>
          <p:nvPr>
            <p:custDataLst>
              <p:tags r:id="rId32"/>
            </p:custDataLst>
          </p:nvPr>
        </p:nvSpPr>
        <p:spPr bwMode="gray">
          <a:xfrm>
            <a:off x="2473889" y="431631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ct val="0"/>
              </a:spcBef>
              <a:spcAft>
                <a:spcPct val="0"/>
              </a:spcAft>
              <a:buNone/>
            </a:pPr>
            <a:r>
              <a:rPr sz="1000">
                <a:latin typeface="+mj-lt"/>
              </a:rPr>
              <a:t>18</a:t>
            </a:r>
            <a:endParaRPr lang="en-GB" sz="1000" noProof="0" dirty="0">
              <a:solidFill>
                <a:schemeClr val="bg1"/>
              </a:solidFill>
              <a:latin typeface="+mj-lt"/>
            </a:endParaRPr>
          </a:p>
        </p:txBody>
      </p:sp>
      <p:sp>
        <p:nvSpPr>
          <p:cNvPr id="71" name="TextBox 70">
            <a:extLst>
              <a:ext uri="{FF2B5EF4-FFF2-40B4-BE49-F238E27FC236}">
                <a16:creationId xmlns:a16="http://schemas.microsoft.com/office/drawing/2014/main" id="{4EEF0CE7-B606-3AB6-AD92-2133E8838977}"/>
              </a:ext>
            </a:extLst>
          </p:cNvPr>
          <p:cNvSpPr txBox="1"/>
          <p:nvPr/>
        </p:nvSpPr>
        <p:spPr>
          <a:xfrm>
            <a:off x="941522" y="5521592"/>
            <a:ext cx="858830" cy="307777"/>
          </a:xfrm>
          <a:prstGeom prst="rect">
            <a:avLst/>
          </a:prstGeom>
          <a:noFill/>
        </p:spPr>
        <p:txBody>
          <a:bodyPr wrap="square" lIns="0" tIns="0" rIns="0" bIns="0" rtlCol="0">
            <a:spAutoFit/>
          </a:bodyPr>
          <a:lstStyle/>
          <a:p>
            <a:pPr algn="ctr" defTabSz="914400">
              <a:defRPr/>
            </a:pPr>
            <a:r>
              <a:rPr sz="1000"/>
              <a:t>Modelo anterior – funciona con diésel</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4" name="TextBox 73">
            <a:extLst>
              <a:ext uri="{FF2B5EF4-FFF2-40B4-BE49-F238E27FC236}">
                <a16:creationId xmlns:a16="http://schemas.microsoft.com/office/drawing/2014/main" id="{EF8A1DC9-3F2E-9380-CBEB-54C73F7D2362}"/>
              </a:ext>
            </a:extLst>
          </p:cNvPr>
          <p:cNvSpPr txBox="1"/>
          <p:nvPr/>
        </p:nvSpPr>
        <p:spPr>
          <a:xfrm>
            <a:off x="2164460" y="5521592"/>
            <a:ext cx="858830" cy="307777"/>
          </a:xfrm>
          <a:prstGeom prst="rect">
            <a:avLst/>
          </a:prstGeom>
          <a:noFill/>
        </p:spPr>
        <p:txBody>
          <a:bodyPr wrap="square" lIns="0" tIns="0" rIns="0" bIns="0" rtlCol="0">
            <a:spAutoFit/>
          </a:bodyPr>
          <a:lstStyle/>
          <a:p>
            <a:pPr algn="ctr" defTabSz="914400">
              <a:defRPr/>
            </a:pPr>
            <a:r>
              <a:rPr sz="1000"/>
              <a:t>Nuevo – funciona con diésel</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8" name="TextBox 77">
            <a:extLst>
              <a:ext uri="{FF2B5EF4-FFF2-40B4-BE49-F238E27FC236}">
                <a16:creationId xmlns:a16="http://schemas.microsoft.com/office/drawing/2014/main" id="{B2AC4E2F-DECB-8370-A27B-A9810E228DD8}"/>
              </a:ext>
            </a:extLst>
          </p:cNvPr>
          <p:cNvSpPr txBox="1"/>
          <p:nvPr/>
        </p:nvSpPr>
        <p:spPr>
          <a:xfrm>
            <a:off x="3396121" y="5521592"/>
            <a:ext cx="858830" cy="307777"/>
          </a:xfrm>
          <a:prstGeom prst="rect">
            <a:avLst/>
          </a:prstGeom>
          <a:noFill/>
        </p:spPr>
        <p:txBody>
          <a:bodyPr wrap="square" lIns="0" tIns="0" rIns="0" bIns="0" rtlCol="0">
            <a:spAutoFit/>
          </a:bodyPr>
          <a:lstStyle/>
          <a:p>
            <a:pPr algn="ctr" defTabSz="914400">
              <a:defRPr/>
            </a:pPr>
            <a:r>
              <a:rPr sz="1000"/>
              <a:t>Nuevo – funciona con HVO</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9" name="TextBox 78">
            <a:extLst>
              <a:ext uri="{FF2B5EF4-FFF2-40B4-BE49-F238E27FC236}">
                <a16:creationId xmlns:a16="http://schemas.microsoft.com/office/drawing/2014/main" id="{B1F7D425-9867-1D3A-CAB5-6E70CDE62423}"/>
              </a:ext>
            </a:extLst>
          </p:cNvPr>
          <p:cNvSpPr txBox="1"/>
          <p:nvPr/>
        </p:nvSpPr>
        <p:spPr>
          <a:xfrm>
            <a:off x="4613278" y="5521592"/>
            <a:ext cx="858830" cy="307777"/>
          </a:xfrm>
          <a:prstGeom prst="rect">
            <a:avLst/>
          </a:prstGeom>
          <a:noFill/>
        </p:spPr>
        <p:txBody>
          <a:bodyPr wrap="square" lIns="0" tIns="0" rIns="0" bIns="0" rtlCol="0">
            <a:spAutoFit/>
          </a:bodyPr>
          <a:lstStyle/>
          <a:p>
            <a:pPr algn="ctr" defTabSz="914400">
              <a:defRPr/>
            </a:pPr>
            <a:r>
              <a:rPr sz="1000"/>
              <a:t>Modelo anterior – funciona con diésel</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80" name="TextBox 79">
            <a:extLst>
              <a:ext uri="{FF2B5EF4-FFF2-40B4-BE49-F238E27FC236}">
                <a16:creationId xmlns:a16="http://schemas.microsoft.com/office/drawing/2014/main" id="{8780F62A-1197-9527-63BC-DDA248A96C7D}"/>
              </a:ext>
            </a:extLst>
          </p:cNvPr>
          <p:cNvSpPr txBox="1"/>
          <p:nvPr/>
        </p:nvSpPr>
        <p:spPr>
          <a:xfrm>
            <a:off x="5836216" y="5521592"/>
            <a:ext cx="858830" cy="307777"/>
          </a:xfrm>
          <a:prstGeom prst="rect">
            <a:avLst/>
          </a:prstGeom>
          <a:noFill/>
        </p:spPr>
        <p:txBody>
          <a:bodyPr wrap="square" lIns="0" tIns="0" rIns="0" bIns="0" rtlCol="0">
            <a:spAutoFit/>
          </a:bodyPr>
          <a:lstStyle/>
          <a:p>
            <a:pPr algn="ctr" defTabSz="914400">
              <a:defRPr/>
            </a:pPr>
            <a:r>
              <a:rPr sz="1000"/>
              <a:t>Nuevo – funciona con diésel</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82" name="TextBox 81">
            <a:extLst>
              <a:ext uri="{FF2B5EF4-FFF2-40B4-BE49-F238E27FC236}">
                <a16:creationId xmlns:a16="http://schemas.microsoft.com/office/drawing/2014/main" id="{1C909CD1-3B18-15EE-4572-79DC319A5355}"/>
              </a:ext>
            </a:extLst>
          </p:cNvPr>
          <p:cNvSpPr txBox="1"/>
          <p:nvPr/>
        </p:nvSpPr>
        <p:spPr>
          <a:xfrm>
            <a:off x="7067877" y="5521592"/>
            <a:ext cx="858830" cy="307777"/>
          </a:xfrm>
          <a:prstGeom prst="rect">
            <a:avLst/>
          </a:prstGeom>
          <a:noFill/>
        </p:spPr>
        <p:txBody>
          <a:bodyPr wrap="square" lIns="0" tIns="0" rIns="0" bIns="0" rtlCol="0">
            <a:spAutoFit/>
          </a:bodyPr>
          <a:lstStyle/>
          <a:p>
            <a:pPr algn="ctr" defTabSz="914400">
              <a:defRPr/>
            </a:pPr>
            <a:r>
              <a:rPr sz="1000"/>
              <a:t>Nuevo – funciona con HVO</a:t>
            </a:r>
            <a:endParaRPr kumimoji="0" lang="en-GB" sz="1000" i="0" u="none" strike="noStrike" kern="1200" cap="none" spc="0" normalizeH="0" baseline="0" noProof="0" dirty="0">
              <a:ln>
                <a:noFill/>
              </a:ln>
              <a:solidFill>
                <a:srgbClr val="28313F"/>
              </a:solidFill>
              <a:effectLst/>
              <a:uLnTx/>
              <a:uFillTx/>
              <a:latin typeface="Roboto Light"/>
              <a:ea typeface="+mn-ea"/>
              <a:cs typeface="+mn-cs"/>
            </a:endParaRPr>
          </a:p>
        </p:txBody>
      </p:sp>
      <p:pic>
        <p:nvPicPr>
          <p:cNvPr id="9" name="Picture 8" descr="A machine with wheels on it&#10;&#10;AI-generated content may be incorrect.">
            <a:extLst>
              <a:ext uri="{FF2B5EF4-FFF2-40B4-BE49-F238E27FC236}">
                <a16:creationId xmlns:a16="http://schemas.microsoft.com/office/drawing/2014/main" id="{647B6E5D-C83B-771E-2B0B-66F9F53EECC2}"/>
              </a:ext>
            </a:extLst>
          </p:cNvPr>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4022568" y="1639846"/>
            <a:ext cx="710457" cy="739590"/>
          </a:xfrm>
          <a:prstGeom prst="rect">
            <a:avLst/>
          </a:prstGeom>
        </p:spPr>
      </p:pic>
    </p:spTree>
    <p:extLst>
      <p:ext uri="{BB962C8B-B14F-4D97-AF65-F5344CB8AC3E}">
        <p14:creationId xmlns:p14="http://schemas.microsoft.com/office/powerpoint/2010/main" val="41947804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EF3D6031-C32E-B3EF-00C8-FC8AF7903153}"/>
              </a:ext>
            </a:extLst>
          </p:cNvPr>
          <p:cNvSpPr txBox="1">
            <a:spLocks/>
          </p:cNvSpPr>
          <p:nvPr/>
        </p:nvSpPr>
        <p:spPr>
          <a:xfrm>
            <a:off x="7880350" y="0"/>
            <a:ext cx="4311647"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noProof="0" dirty="0"/>
          </a:p>
        </p:txBody>
      </p:sp>
      <p:sp>
        <p:nvSpPr>
          <p:cNvPr id="2" name="Footer Placeholder 1">
            <a:extLst>
              <a:ext uri="{FF2B5EF4-FFF2-40B4-BE49-F238E27FC236}">
                <a16:creationId xmlns:a16="http://schemas.microsoft.com/office/drawing/2014/main" id="{1D7E9692-92A1-BA35-EADC-EB29BC96A734}"/>
              </a:ext>
            </a:extLst>
          </p:cNvPr>
          <p:cNvSpPr>
            <a:spLocks noGrp="1"/>
          </p:cNvSpPr>
          <p:nvPr>
            <p:ph type="ftr" sz="quarter" idx="21"/>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0B238A0D-0B72-8C06-2384-D456FB88F9F4}"/>
              </a:ext>
            </a:extLst>
          </p:cNvPr>
          <p:cNvSpPr>
            <a:spLocks noGrp="1"/>
          </p:cNvSpPr>
          <p:nvPr>
            <p:ph type="sldNum" sz="quarter" idx="22"/>
          </p:nvPr>
        </p:nvSpPr>
        <p:spPr/>
        <p:txBody>
          <a:bodyPr/>
          <a:lstStyle/>
          <a:p>
            <a:fld id="{6C385236-B7BA-4938-9EA6-6DEC8CA653D7}" type="slidenum">
              <a:rPr lang="en-GB" noProof="0" smtClean="0"/>
              <a:pPr/>
              <a:t>31</a:t>
            </a:fld>
            <a:endParaRPr lang="en-GB" noProof="0" dirty="0"/>
          </a:p>
        </p:txBody>
      </p:sp>
      <p:sp>
        <p:nvSpPr>
          <p:cNvPr id="4" name="Content Placeholder 3">
            <a:extLst>
              <a:ext uri="{FF2B5EF4-FFF2-40B4-BE49-F238E27FC236}">
                <a16:creationId xmlns:a16="http://schemas.microsoft.com/office/drawing/2014/main" id="{1566C407-6B3B-2EFF-20D6-4C8587E797C5}"/>
              </a:ext>
            </a:extLst>
          </p:cNvPr>
          <p:cNvSpPr>
            <a:spLocks noGrp="1"/>
          </p:cNvSpPr>
          <p:nvPr>
            <p:ph sz="quarter" idx="18"/>
          </p:nvPr>
        </p:nvSpPr>
        <p:spPr>
          <a:xfrm>
            <a:off x="479425" y="1412875"/>
            <a:ext cx="6685463" cy="3323077"/>
          </a:xfrm>
          <a:noFill/>
          <a:effectLst/>
        </p:spPr>
        <p:txBody>
          <a:bodyPr lIns="0" tIns="0" rIns="0" bIns="0"/>
          <a:lstStyle/>
          <a:p>
            <a:pPr marL="0" indent="0">
              <a:lnSpc>
                <a:spcPct val="120000"/>
              </a:lnSpc>
              <a:buNone/>
            </a:pPr>
            <a:r>
              <a:rPr sz="1200"/>
              <a:t>Las calderas Nilfisk se someten a pruebas conforme a los requisitos de EUnited.</a:t>
            </a:r>
          </a:p>
          <a:p>
            <a:pPr marL="0" indent="0">
              <a:lnSpc>
                <a:spcPct val="120000"/>
              </a:lnSpc>
              <a:buNone/>
            </a:pPr>
            <a:r>
              <a:rPr sz="1200"/>
              <a:t>Los índices de eficiencia son:</a:t>
            </a:r>
          </a:p>
          <a:p>
            <a:pPr>
              <a:lnSpc>
                <a:spcPct val="120000"/>
              </a:lnSpc>
            </a:pPr>
            <a:r>
              <a:rPr sz="1200"/>
              <a:t>Caldera con eficiencia energética del ~96% (MH35-85)</a:t>
            </a:r>
          </a:p>
          <a:p>
            <a:pPr>
              <a:lnSpc>
                <a:spcPct val="120000"/>
              </a:lnSpc>
            </a:pPr>
            <a:r>
              <a:rPr sz="1200"/>
              <a:t>Caldera EcoPower – eficiencia del ~92% (MH20-70)</a:t>
            </a:r>
          </a:p>
          <a:p>
            <a:pPr>
              <a:lnSpc>
                <a:spcPct val="120000"/>
              </a:lnSpc>
              <a:buFontTx/>
              <a:buChar char="-"/>
            </a:pPr>
            <a:endParaRPr lang="en-GB" sz="1200" noProof="0" dirty="0"/>
          </a:p>
          <a:p>
            <a:pPr marL="0" indent="0">
              <a:lnSpc>
                <a:spcPct val="120000"/>
              </a:lnSpc>
              <a:buNone/>
            </a:pPr>
            <a:r>
              <a:rPr sz="1200"/>
              <a:t>Mayor eficiencia = menor consumo de combustible = ahorro de costes</a:t>
            </a:r>
          </a:p>
          <a:p>
            <a:pPr marL="0" indent="0">
              <a:lnSpc>
                <a:spcPct val="120000"/>
              </a:lnSpc>
              <a:buNone/>
            </a:pPr>
            <a:r>
              <a:rPr sz="1200"/>
              <a:t>Mayor eficiencia = temperatura más constante = limpieza más rápida y ahorro de energía y dinero</a:t>
            </a:r>
          </a:p>
          <a:p>
            <a:pPr marL="0" indent="0">
              <a:lnSpc>
                <a:spcPct val="120000"/>
              </a:lnSpc>
              <a:buNone/>
            </a:pPr>
            <a:endParaRPr lang="en-GB" sz="1200" noProof="0" dirty="0"/>
          </a:p>
          <a:p>
            <a:pPr marL="0" indent="0">
              <a:lnSpc>
                <a:spcPct val="120000"/>
              </a:lnSpc>
              <a:buNone/>
            </a:pPr>
            <a:r>
              <a:rPr sz="1200"/>
              <a:t>Además, la alta eficiencia se traduce en una combustión más limpia, con menos hollín y contaminación. Esto no solo beneficia al medio ambiente, sino que también reduce las necesidades de mantenimiento de la bobina y, por tanto, los costos de servicio.</a:t>
            </a:r>
          </a:p>
        </p:txBody>
      </p:sp>
      <p:pic>
        <p:nvPicPr>
          <p:cNvPr id="8" name="Content Placeholder 7">
            <a:extLst>
              <a:ext uri="{FF2B5EF4-FFF2-40B4-BE49-F238E27FC236}">
                <a16:creationId xmlns:a16="http://schemas.microsoft.com/office/drawing/2014/main" id="{F959C39D-0813-83EB-DB71-FD355411AD6E}"/>
              </a:ext>
            </a:extLst>
          </p:cNvPr>
          <p:cNvPicPr>
            <a:picLocks noGrp="1" noChangeAspect="1"/>
          </p:cNvPicPr>
          <p:nvPr>
            <p:ph sz="quarter" idx="23"/>
          </p:nvPr>
        </p:nvPicPr>
        <p:blipFill>
          <a:blip r:embed="rId2"/>
          <a:stretch>
            <a:fillRect/>
          </a:stretch>
        </p:blipFill>
        <p:spPr>
          <a:xfrm>
            <a:off x="8210550" y="574673"/>
            <a:ext cx="2641715" cy="2598408"/>
          </a:xfrm>
          <a:prstGeom prst="rect">
            <a:avLst/>
          </a:prstGeom>
          <a:effectLst/>
        </p:spPr>
      </p:pic>
      <p:sp>
        <p:nvSpPr>
          <p:cNvPr id="6" name="Text Placeholder 5">
            <a:extLst>
              <a:ext uri="{FF2B5EF4-FFF2-40B4-BE49-F238E27FC236}">
                <a16:creationId xmlns:a16="http://schemas.microsoft.com/office/drawing/2014/main" id="{46582446-6BFB-B63B-5143-EBC668B3FD93}"/>
              </a:ext>
            </a:extLst>
          </p:cNvPr>
          <p:cNvSpPr>
            <a:spLocks noGrp="1"/>
          </p:cNvSpPr>
          <p:nvPr>
            <p:ph type="body" sz="quarter" idx="14"/>
          </p:nvPr>
        </p:nvSpPr>
        <p:spPr/>
        <p:txBody>
          <a:bodyPr/>
          <a:lstStyle/>
          <a:p>
            <a:r>
              <a:t>Las calderas Nilfisk se prueban conforme a los estándares de EUnited.</a:t>
            </a:r>
          </a:p>
        </p:txBody>
      </p:sp>
      <p:sp>
        <p:nvSpPr>
          <p:cNvPr id="7" name="Title 6">
            <a:extLst>
              <a:ext uri="{FF2B5EF4-FFF2-40B4-BE49-F238E27FC236}">
                <a16:creationId xmlns:a16="http://schemas.microsoft.com/office/drawing/2014/main" id="{7286B85F-C7C8-8630-78B0-19BD256D7F06}"/>
              </a:ext>
            </a:extLst>
          </p:cNvPr>
          <p:cNvSpPr>
            <a:spLocks noGrp="1"/>
          </p:cNvSpPr>
          <p:nvPr>
            <p:ph type="title"/>
          </p:nvPr>
        </p:nvSpPr>
        <p:spPr/>
        <p:txBody>
          <a:bodyPr/>
          <a:lstStyle/>
          <a:p>
            <a:r>
              <a:t>Caldera de alta eficiencia aprobada</a:t>
            </a:r>
          </a:p>
        </p:txBody>
      </p:sp>
      <p:sp>
        <p:nvSpPr>
          <p:cNvPr id="9" name="Content Placeholder 3">
            <a:extLst>
              <a:ext uri="{FF2B5EF4-FFF2-40B4-BE49-F238E27FC236}">
                <a16:creationId xmlns:a16="http://schemas.microsoft.com/office/drawing/2014/main" id="{7D3379C8-B2F4-9DC0-CE18-07A8E45D9919}"/>
              </a:ext>
            </a:extLst>
          </p:cNvPr>
          <p:cNvSpPr txBox="1">
            <a:spLocks/>
          </p:cNvSpPr>
          <p:nvPr/>
        </p:nvSpPr>
        <p:spPr>
          <a:xfrm>
            <a:off x="8210550" y="3370154"/>
            <a:ext cx="3500071" cy="2913171"/>
          </a:xfrm>
          <a:prstGeom prst="rect">
            <a:avLst/>
          </a:prstGeom>
          <a:no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sz="1200" b="1">
                <a:latin typeface="+mj-lt"/>
              </a:rPr>
              <a:t>Etiqueta EUnited Cleaning:</a:t>
            </a:r>
          </a:p>
          <a:p>
            <a:pPr marL="0" indent="0">
              <a:lnSpc>
                <a:spcPct val="120000"/>
              </a:lnSpc>
              <a:buFont typeface="Arial" panose="020B0604020202020204" pitchFamily="34" charset="0"/>
              <a:buNone/>
            </a:pPr>
            <a:endParaRPr lang="en-GB" sz="1200" b="1" noProof="0" dirty="0">
              <a:latin typeface="+mj-lt"/>
            </a:endParaRPr>
          </a:p>
          <a:p>
            <a:pPr marL="0" indent="0">
              <a:lnSpc>
                <a:spcPct val="120000"/>
              </a:lnSpc>
              <a:buFont typeface="Arial" panose="020B0604020202020204" pitchFamily="34" charset="0"/>
              <a:buNone/>
            </a:pPr>
            <a:r>
              <a:rPr sz="1200"/>
              <a:t>“La etiqueta para limpiadoras de </a:t>
            </a:r>
            <a:r>
              <a:rPr sz="1200">
                <a:latin typeface="Roboto Medium"/>
              </a:rPr>
              <a:t>alta presión de EUnited Cleaning es un sello de aprobación que certifica </a:t>
            </a:r>
            <a:r>
              <a:rPr sz="1200"/>
              <a:t>que el quemador altamente eficiente de las limpiadoras de alta presión estacionarias </a:t>
            </a:r>
            <a:r>
              <a:rPr sz="1200">
                <a:latin typeface="Roboto Medium"/>
              </a:rPr>
              <a:t>o cuasi-estacionarias con calefacción de aceite probadas cumple con exigentes requisitos de seguridad </a:t>
            </a:r>
            <a:r>
              <a:rPr sz="1200" b="1">
                <a:latin typeface="Roboto Medium"/>
              </a:rPr>
              <a:t>en </a:t>
            </a:r>
            <a:r>
              <a:rPr sz="1200"/>
              <a:t>cuanto a pérdida térmica de escape qA, emisiones de CO y emisiones de polvo. Estos parámetros deben ser supervisados para proteger al operador de cualquier riesgo procedente de los gases de escape del quemador integrado en la limpiadora de alta presión.” EUnited</a:t>
            </a:r>
            <a:endParaRPr lang="en-GB" sz="1200" noProof="0" dirty="0"/>
          </a:p>
        </p:txBody>
      </p:sp>
    </p:spTree>
    <p:extLst>
      <p:ext uri="{BB962C8B-B14F-4D97-AF65-F5344CB8AC3E}">
        <p14:creationId xmlns:p14="http://schemas.microsoft.com/office/powerpoint/2010/main" val="28873379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r>
              <a:rPr dirty="0"/>
              <a:t>6</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r>
              <a:t>Servicios</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fld id="{6C385236-B7BA-4938-9EA6-6DEC8CA653D7}" type="slidenum">
              <a:rPr lang="en-GB" noProof="0" smtClean="0"/>
              <a:pPr/>
              <a:t>32</a:t>
            </a:fld>
            <a:endParaRPr lang="en-GB" noProof="0" dirty="0"/>
          </a:p>
        </p:txBody>
      </p:sp>
    </p:spTree>
    <p:extLst>
      <p:ext uri="{BB962C8B-B14F-4D97-AF65-F5344CB8AC3E}">
        <p14:creationId xmlns:p14="http://schemas.microsoft.com/office/powerpoint/2010/main" val="39121259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BA524D-3634-3C51-AE9A-21B459231208}"/>
              </a:ext>
            </a:extLst>
          </p:cNvPr>
          <p:cNvSpPr txBox="1">
            <a:spLocks/>
          </p:cNvSpPr>
          <p:nvPr/>
        </p:nvSpPr>
        <p:spPr>
          <a:xfrm>
            <a:off x="6200774" y="1"/>
            <a:ext cx="5991225" cy="6273800"/>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noProof="0" dirty="0"/>
          </a:p>
        </p:txBody>
      </p:sp>
      <p:sp>
        <p:nvSpPr>
          <p:cNvPr id="4" name="Footer Placeholder 3">
            <a:extLst>
              <a:ext uri="{FF2B5EF4-FFF2-40B4-BE49-F238E27FC236}">
                <a16:creationId xmlns:a16="http://schemas.microsoft.com/office/drawing/2014/main" id="{8F22EA60-7B42-0FAB-94D4-B62A1217CDC0}"/>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5" name="Slide Number Placeholder 4">
            <a:extLst>
              <a:ext uri="{FF2B5EF4-FFF2-40B4-BE49-F238E27FC236}">
                <a16:creationId xmlns:a16="http://schemas.microsoft.com/office/drawing/2014/main" id="{0C1EBA80-D223-A042-02BE-F690F15CE540}"/>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33</a:t>
            </a:fld>
            <a:endParaRPr lang="en-GB" noProof="0" dirty="0"/>
          </a:p>
        </p:txBody>
      </p:sp>
      <p:sp>
        <p:nvSpPr>
          <p:cNvPr id="3" name="Text Placeholder 2">
            <a:extLst>
              <a:ext uri="{FF2B5EF4-FFF2-40B4-BE49-F238E27FC236}">
                <a16:creationId xmlns:a16="http://schemas.microsoft.com/office/drawing/2014/main" id="{8E00106A-89B5-6B14-1B8D-203FD22E43A3}"/>
              </a:ext>
            </a:extLst>
          </p:cNvPr>
          <p:cNvSpPr>
            <a:spLocks noGrp="1"/>
          </p:cNvSpPr>
          <p:nvPr>
            <p:ph sz="quarter" idx="18"/>
          </p:nvPr>
        </p:nvSpPr>
        <p:spPr>
          <a:xfrm>
            <a:off x="6409339" y="607187"/>
            <a:ext cx="2363652" cy="3765176"/>
          </a:xfrm>
          <a:noFill/>
          <a:effectLst/>
        </p:spPr>
        <p:txBody>
          <a:bodyPr lIns="0" tIns="0" rIns="0" bIns="0">
            <a:normAutofit fontScale="92500" lnSpcReduction="20000"/>
          </a:bodyPr>
          <a:lstStyle/>
          <a:p>
            <a:pPr marL="0" indent="0">
              <a:lnSpc>
                <a:spcPct val="120000"/>
              </a:lnSpc>
              <a:buNone/>
            </a:pPr>
            <a:r>
              <a:rPr sz="1200" b="1" dirty="0" err="1">
                <a:latin typeface="+mj-lt"/>
              </a:rPr>
              <a:t>Características</a:t>
            </a:r>
            <a:r>
              <a:rPr sz="1200" b="1" dirty="0">
                <a:latin typeface="+mj-lt"/>
              </a:rPr>
              <a:t> </a:t>
            </a:r>
            <a:r>
              <a:rPr sz="1200" b="1" dirty="0" err="1">
                <a:latin typeface="+mj-lt"/>
              </a:rPr>
              <a:t>principales</a:t>
            </a:r>
            <a:r>
              <a:rPr sz="1200" b="1" dirty="0">
                <a:latin typeface="+mj-lt"/>
              </a:rPr>
              <a:t>:</a:t>
            </a:r>
          </a:p>
          <a:p>
            <a:pPr>
              <a:lnSpc>
                <a:spcPct val="120000"/>
              </a:lnSpc>
            </a:pPr>
            <a:r>
              <a:rPr sz="1200" dirty="0"/>
              <a:t>Registro y </a:t>
            </a:r>
            <a:r>
              <a:rPr sz="1200" dirty="0" err="1"/>
              <a:t>inicio</a:t>
            </a:r>
            <a:r>
              <a:rPr sz="1200" dirty="0"/>
              <a:t> de </a:t>
            </a:r>
            <a:r>
              <a:rPr sz="1200" dirty="0" err="1"/>
              <a:t>sesión</a:t>
            </a:r>
            <a:r>
              <a:rPr sz="1200" dirty="0"/>
              <a:t> de </a:t>
            </a:r>
            <a:r>
              <a:rPr sz="1200" dirty="0" err="1"/>
              <a:t>usuarios</a:t>
            </a:r>
            <a:r>
              <a:rPr sz="1200" dirty="0"/>
              <a:t>, y </a:t>
            </a:r>
            <a:r>
              <a:rPr sz="1200" dirty="0" err="1"/>
              <a:t>acceso</a:t>
            </a:r>
            <a:r>
              <a:rPr sz="1200" dirty="0"/>
              <a:t> </a:t>
            </a:r>
            <a:r>
              <a:rPr sz="1200" dirty="0" err="1"/>
              <a:t>basado</a:t>
            </a:r>
            <a:r>
              <a:rPr sz="1200" dirty="0"/>
              <a:t> </a:t>
            </a:r>
            <a:r>
              <a:rPr sz="1200" dirty="0" err="1"/>
              <a:t>en</a:t>
            </a:r>
            <a:r>
              <a:rPr sz="1200" dirty="0"/>
              <a:t> </a:t>
            </a:r>
            <a:r>
              <a:rPr sz="1200" dirty="0" err="1"/>
              <a:t>permisos</a:t>
            </a:r>
            <a:endParaRPr sz="1200" dirty="0"/>
          </a:p>
          <a:p>
            <a:pPr>
              <a:lnSpc>
                <a:spcPct val="120000"/>
              </a:lnSpc>
            </a:pPr>
            <a:r>
              <a:rPr sz="1200" dirty="0" err="1"/>
              <a:t>Detección</a:t>
            </a:r>
            <a:r>
              <a:rPr sz="1200" dirty="0"/>
              <a:t> de </a:t>
            </a:r>
            <a:r>
              <a:rPr sz="1200" dirty="0" err="1"/>
              <a:t>dispositivos</a:t>
            </a:r>
            <a:r>
              <a:rPr sz="1200" dirty="0"/>
              <a:t> y </a:t>
            </a:r>
            <a:r>
              <a:rPr sz="1200" dirty="0" err="1"/>
              <a:t>conectividad</a:t>
            </a:r>
            <a:r>
              <a:rPr sz="1200" dirty="0"/>
              <a:t> Bluetooth</a:t>
            </a:r>
          </a:p>
          <a:p>
            <a:pPr>
              <a:lnSpc>
                <a:spcPct val="120000"/>
              </a:lnSpc>
            </a:pPr>
            <a:r>
              <a:rPr sz="1200" dirty="0" err="1"/>
              <a:t>Intercambio</a:t>
            </a:r>
            <a:r>
              <a:rPr sz="1200" dirty="0"/>
              <a:t> de </a:t>
            </a:r>
            <a:r>
              <a:rPr sz="1200" dirty="0" err="1"/>
              <a:t>parámetros</a:t>
            </a:r>
            <a:r>
              <a:rPr sz="1200" dirty="0"/>
              <a:t> </a:t>
            </a:r>
            <a:r>
              <a:rPr sz="1200" dirty="0" err="1"/>
              <a:t>operativos</a:t>
            </a:r>
            <a:r>
              <a:rPr sz="1200" dirty="0"/>
              <a:t> y </a:t>
            </a:r>
            <a:r>
              <a:rPr sz="1200" dirty="0" err="1"/>
              <a:t>datos</a:t>
            </a:r>
            <a:r>
              <a:rPr sz="1200" dirty="0"/>
              <a:t> de </a:t>
            </a:r>
            <a:r>
              <a:rPr sz="1200" dirty="0" err="1"/>
              <a:t>fallos</a:t>
            </a:r>
            <a:r>
              <a:rPr sz="1200" dirty="0"/>
              <a:t> entre </a:t>
            </a:r>
            <a:r>
              <a:rPr sz="1200" dirty="0" err="1"/>
              <a:t>dispositivos</a:t>
            </a:r>
            <a:r>
              <a:rPr sz="1200" dirty="0"/>
              <a:t> </a:t>
            </a:r>
            <a:r>
              <a:rPr sz="1200" dirty="0" err="1"/>
              <a:t>móviles</a:t>
            </a:r>
            <a:r>
              <a:rPr sz="1200" dirty="0"/>
              <a:t> y </a:t>
            </a:r>
            <a:r>
              <a:rPr sz="1200" dirty="0" err="1"/>
              <a:t>máquinas</a:t>
            </a:r>
            <a:endParaRPr sz="1200" dirty="0"/>
          </a:p>
          <a:p>
            <a:pPr>
              <a:lnSpc>
                <a:spcPct val="120000"/>
              </a:lnSpc>
            </a:pPr>
            <a:r>
              <a:rPr sz="1200" dirty="0" err="1"/>
              <a:t>Descarga</a:t>
            </a:r>
            <a:r>
              <a:rPr sz="1200" dirty="0"/>
              <a:t> de software, </a:t>
            </a:r>
            <a:r>
              <a:rPr sz="1200" dirty="0" err="1"/>
              <a:t>herramientas</a:t>
            </a:r>
            <a:r>
              <a:rPr sz="1200" dirty="0"/>
              <a:t> de </a:t>
            </a:r>
            <a:r>
              <a:rPr sz="1200" dirty="0" err="1"/>
              <a:t>depuración</a:t>
            </a:r>
            <a:r>
              <a:rPr sz="1200" dirty="0"/>
              <a:t> y </a:t>
            </a:r>
            <a:r>
              <a:rPr sz="1200" dirty="0" err="1"/>
              <a:t>soporte</a:t>
            </a:r>
            <a:r>
              <a:rPr sz="1200" dirty="0"/>
              <a:t> fuera de </a:t>
            </a:r>
            <a:r>
              <a:rPr sz="1200" dirty="0" err="1"/>
              <a:t>línea</a:t>
            </a:r>
            <a:endParaRPr sz="1200" dirty="0"/>
          </a:p>
          <a:p>
            <a:pPr>
              <a:lnSpc>
                <a:spcPct val="120000"/>
              </a:lnSpc>
            </a:pPr>
            <a:r>
              <a:rPr sz="1200" dirty="0" err="1"/>
              <a:t>Diseños</a:t>
            </a:r>
            <a:r>
              <a:rPr sz="1200" dirty="0"/>
              <a:t> de </a:t>
            </a:r>
            <a:r>
              <a:rPr sz="1200" dirty="0" err="1"/>
              <a:t>pantalla</a:t>
            </a:r>
            <a:r>
              <a:rPr sz="1200" dirty="0"/>
              <a:t> </a:t>
            </a:r>
            <a:r>
              <a:rPr sz="1200" dirty="0" err="1"/>
              <a:t>completos</a:t>
            </a:r>
            <a:r>
              <a:rPr sz="1200" dirty="0"/>
              <a:t> y </a:t>
            </a:r>
            <a:r>
              <a:rPr sz="1200" dirty="0" err="1"/>
              <a:t>avanzados</a:t>
            </a:r>
            <a:r>
              <a:rPr sz="1200" dirty="0"/>
              <a:t>:</a:t>
            </a:r>
          </a:p>
          <a:p>
            <a:pPr marL="199104" lvl="1" indent="0">
              <a:lnSpc>
                <a:spcPct val="120000"/>
              </a:lnSpc>
              <a:buNone/>
            </a:pPr>
            <a:r>
              <a:rPr sz="1200" dirty="0" err="1"/>
              <a:t>Descubrimiento</a:t>
            </a:r>
            <a:r>
              <a:rPr sz="1200" dirty="0"/>
              <a:t> de </a:t>
            </a:r>
            <a:r>
              <a:rPr sz="1200" dirty="0" err="1"/>
              <a:t>dispositivos</a:t>
            </a:r>
            <a:r>
              <a:rPr sz="1200" dirty="0"/>
              <a:t>, vista general/</a:t>
            </a:r>
            <a:r>
              <a:rPr sz="1200" dirty="0" err="1"/>
              <a:t>detallada</a:t>
            </a:r>
            <a:r>
              <a:rPr sz="1200" dirty="0"/>
              <a:t> de </a:t>
            </a:r>
            <a:r>
              <a:rPr sz="1200" dirty="0" err="1"/>
              <a:t>parámetros</a:t>
            </a:r>
            <a:r>
              <a:rPr sz="1200" dirty="0"/>
              <a:t>, vista general/</a:t>
            </a:r>
            <a:r>
              <a:rPr sz="1200" dirty="0" err="1"/>
              <a:t>detallada</a:t>
            </a:r>
            <a:r>
              <a:rPr sz="1200" dirty="0"/>
              <a:t> de </a:t>
            </a:r>
            <a:r>
              <a:rPr sz="1200" dirty="0" err="1"/>
              <a:t>fallos</a:t>
            </a:r>
            <a:r>
              <a:rPr sz="1200" dirty="0"/>
              <a:t>, </a:t>
            </a:r>
            <a:r>
              <a:rPr sz="1200" dirty="0" err="1"/>
              <a:t>descarga</a:t>
            </a:r>
            <a:r>
              <a:rPr sz="1200" dirty="0"/>
              <a:t> de software, </a:t>
            </a:r>
            <a:r>
              <a:rPr sz="1200" dirty="0" err="1"/>
              <a:t>perfil</a:t>
            </a:r>
            <a:r>
              <a:rPr sz="1200" dirty="0"/>
              <a:t>/</a:t>
            </a:r>
            <a:r>
              <a:rPr sz="1200" dirty="0" err="1"/>
              <a:t>configuración</a:t>
            </a:r>
            <a:r>
              <a:rPr sz="1200" dirty="0"/>
              <a:t> del </a:t>
            </a:r>
            <a:r>
              <a:rPr sz="1200" dirty="0" err="1"/>
              <a:t>usuario</a:t>
            </a:r>
            <a:r>
              <a:rPr sz="1200" dirty="0"/>
              <a:t>, </a:t>
            </a:r>
            <a:r>
              <a:rPr sz="1200" dirty="0" err="1"/>
              <a:t>configuración</a:t>
            </a:r>
            <a:r>
              <a:rPr sz="1200" dirty="0"/>
              <a:t> de la </a:t>
            </a:r>
            <a:r>
              <a:rPr sz="1200" dirty="0" err="1"/>
              <a:t>máquina</a:t>
            </a:r>
            <a:r>
              <a:rPr sz="1200" dirty="0"/>
              <a:t> y </a:t>
            </a:r>
            <a:r>
              <a:rPr sz="1200" dirty="0" err="1"/>
              <a:t>registros</a:t>
            </a:r>
            <a:r>
              <a:rPr sz="1200" dirty="0"/>
              <a:t>.</a:t>
            </a:r>
          </a:p>
        </p:txBody>
      </p:sp>
      <p:pic>
        <p:nvPicPr>
          <p:cNvPr id="1026" name="Picture 2" descr="A screenshot of a software error&#10;&#10;Description automatically generated">
            <a:extLst>
              <a:ext uri="{FF2B5EF4-FFF2-40B4-BE49-F238E27FC236}">
                <a16:creationId xmlns:a16="http://schemas.microsoft.com/office/drawing/2014/main" id="{A502DD04-BAD6-B1C4-5ECB-7A5D0F5260EB}"/>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9252415" y="476251"/>
            <a:ext cx="2460160" cy="5347548"/>
          </a:xfrm>
          <a:prstGeom prst="rect">
            <a:avLst/>
          </a:prstGeom>
          <a:solidFill>
            <a:srgbClr val="FFFFFF"/>
          </a:solidFill>
          <a:effectLst>
            <a:outerShdw blurRad="63500" sx="102000" sy="102000" algn="ctr" rotWithShape="0">
              <a:prstClr val="black">
                <a:alpha val="10000"/>
              </a:prstClr>
            </a:outerShdw>
          </a:effectLst>
        </p:spPr>
      </p:pic>
      <p:sp>
        <p:nvSpPr>
          <p:cNvPr id="6" name="Text Placeholder 5">
            <a:extLst>
              <a:ext uri="{FF2B5EF4-FFF2-40B4-BE49-F238E27FC236}">
                <a16:creationId xmlns:a16="http://schemas.microsoft.com/office/drawing/2014/main" id="{F2B248E5-E0D3-6A98-971A-0C4C0FB0D245}"/>
              </a:ext>
            </a:extLst>
          </p:cNvPr>
          <p:cNvSpPr>
            <a:spLocks noGrp="1"/>
          </p:cNvSpPr>
          <p:nvPr>
            <p:ph type="body" sz="quarter" idx="14"/>
          </p:nvPr>
        </p:nvSpPr>
        <p:spPr>
          <a:xfrm>
            <a:off x="475521" y="873877"/>
            <a:ext cx="5510942" cy="376456"/>
          </a:xfrm>
        </p:spPr>
        <p:txBody>
          <a:bodyPr>
            <a:normAutofit/>
          </a:bodyPr>
          <a:lstStyle/>
          <a:p>
            <a:r>
              <a:t>Digital para una mejor experiencia de servicio</a:t>
            </a:r>
          </a:p>
        </p:txBody>
      </p:sp>
      <p:sp>
        <p:nvSpPr>
          <p:cNvPr id="7" name="Title 6">
            <a:extLst>
              <a:ext uri="{FF2B5EF4-FFF2-40B4-BE49-F238E27FC236}">
                <a16:creationId xmlns:a16="http://schemas.microsoft.com/office/drawing/2014/main" id="{C4B69527-06C8-E0B8-4B1D-D617CDBBF2B2}"/>
              </a:ext>
            </a:extLst>
          </p:cNvPr>
          <p:cNvSpPr>
            <a:spLocks noGrp="1"/>
          </p:cNvSpPr>
          <p:nvPr>
            <p:ph type="title"/>
          </p:nvPr>
        </p:nvSpPr>
        <p:spPr>
          <a:xfrm>
            <a:off x="479425" y="494490"/>
            <a:ext cx="5451950" cy="388013"/>
          </a:xfrm>
        </p:spPr>
        <p:txBody>
          <a:bodyPr anchor="t">
            <a:noAutofit/>
          </a:bodyPr>
          <a:lstStyle/>
          <a:p>
            <a:r>
              <a:t>Aplicación de Servicio</a:t>
            </a:r>
          </a:p>
        </p:txBody>
      </p:sp>
      <p:sp>
        <p:nvSpPr>
          <p:cNvPr id="8" name="TextBox 7">
            <a:extLst>
              <a:ext uri="{FF2B5EF4-FFF2-40B4-BE49-F238E27FC236}">
                <a16:creationId xmlns:a16="http://schemas.microsoft.com/office/drawing/2014/main" id="{66C6E305-3CFE-7D71-9574-6AB5B0348E6C}"/>
              </a:ext>
            </a:extLst>
          </p:cNvPr>
          <p:cNvSpPr txBox="1"/>
          <p:nvPr/>
        </p:nvSpPr>
        <p:spPr>
          <a:xfrm>
            <a:off x="9252415" y="5947500"/>
            <a:ext cx="1229848" cy="161583"/>
          </a:xfrm>
          <a:prstGeom prst="rect">
            <a:avLst/>
          </a:prstGeom>
          <a:noFill/>
        </p:spPr>
        <p:txBody>
          <a:bodyPr wrap="square" lIns="0" tIns="0" rIns="0" bIns="0" rtlCol="0">
            <a:spAutoFit/>
          </a:bodyPr>
          <a:lstStyle/>
          <a:p>
            <a:pPr algn="l"/>
            <a:r>
              <a:rPr sz="1050" dirty="0"/>
              <a:t>*</a:t>
            </a:r>
            <a:r>
              <a:rPr sz="1050" dirty="0" err="1"/>
              <a:t>borrador</a:t>
            </a:r>
            <a:r>
              <a:rPr sz="1050" dirty="0"/>
              <a:t> visual</a:t>
            </a:r>
          </a:p>
        </p:txBody>
      </p:sp>
      <p:sp>
        <p:nvSpPr>
          <p:cNvPr id="9" name="Text Placeholder 2">
            <a:extLst>
              <a:ext uri="{FF2B5EF4-FFF2-40B4-BE49-F238E27FC236}">
                <a16:creationId xmlns:a16="http://schemas.microsoft.com/office/drawing/2014/main" id="{A4F59901-123D-AD60-AA73-68A8485DE59C}"/>
              </a:ext>
            </a:extLst>
          </p:cNvPr>
          <p:cNvSpPr txBox="1">
            <a:spLocks/>
          </p:cNvSpPr>
          <p:nvPr/>
        </p:nvSpPr>
        <p:spPr>
          <a:xfrm>
            <a:off x="475521" y="1412876"/>
            <a:ext cx="5510942" cy="2875514"/>
          </a:xfrm>
          <a:prstGeom prst="rect">
            <a:avLst/>
          </a:prstGeom>
          <a:noFill/>
          <a:effectLst/>
        </p:spPr>
        <p:txBody>
          <a:bodyPr vert="horz" lIns="0" tIns="0" rIns="0" bIns="0" rtlCol="0" anchor="t">
            <a:norm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800"/>
              </a:spcBef>
              <a:buFont typeface="Arial" panose="020B0604020202020204" pitchFamily="34" charset="0"/>
              <a:buNone/>
            </a:pPr>
            <a:r>
              <a:rPr sz="1200"/>
              <a:t>Como parte del proyecto MH, la herramienta de servicio se ha actualizado para adaptarse a los desarrollos presentes y futuros.</a:t>
            </a:r>
          </a:p>
          <a:p>
            <a:pPr marL="0" indent="0">
              <a:lnSpc>
                <a:spcPct val="120000"/>
              </a:lnSpc>
              <a:spcBef>
                <a:spcPts val="800"/>
              </a:spcBef>
              <a:buNone/>
            </a:pPr>
            <a:r>
              <a:rPr sz="1200"/>
              <a:t>La nueva aplicación Service Tool permite a nuestra organización de servicio y a la red de distribuidores conectarse a la nueva gama MH mediante Bluetooth.</a:t>
            </a:r>
            <a:endParaRPr lang="en-GB" sz="1200" noProof="0" dirty="0">
              <a:ea typeface="Roboto Light"/>
              <a:cs typeface="Roboto Light"/>
            </a:endParaRPr>
          </a:p>
          <a:p>
            <a:pPr marL="0" indent="0">
              <a:lnSpc>
                <a:spcPct val="120000"/>
              </a:lnSpc>
              <a:spcBef>
                <a:spcPts val="800"/>
              </a:spcBef>
              <a:buFont typeface="Arial" panose="020B0604020202020204" pitchFamily="34" charset="0"/>
              <a:buNone/>
            </a:pPr>
            <a:r>
              <a:rPr sz="1200"/>
              <a:t>La Service Tool ha sido diseñada para funcionar en iOS y Android.</a:t>
            </a:r>
          </a:p>
          <a:p>
            <a:pPr marL="0" indent="0">
              <a:lnSpc>
                <a:spcPct val="120000"/>
              </a:lnSpc>
              <a:spcBef>
                <a:spcPts val="800"/>
              </a:spcBef>
              <a:buFont typeface="Arial" panose="020B0604020202020204" pitchFamily="34" charset="0"/>
              <a:buNone/>
            </a:pPr>
            <a:r>
              <a:rPr sz="1200"/>
              <a:t>En conjunto con las ventanas emergentes de error del MH35-85s, tanto los técnicos de servicio como los distribuidores pueden obtener información más precisa sobre los problemas o errores de la máquina antes de la visita de servicio.</a:t>
            </a:r>
          </a:p>
          <a:p>
            <a:pPr marL="0" indent="0">
              <a:lnSpc>
                <a:spcPct val="120000"/>
              </a:lnSpc>
              <a:spcBef>
                <a:spcPts val="800"/>
              </a:spcBef>
              <a:buFont typeface="Arial" panose="020B0604020202020204" pitchFamily="34" charset="0"/>
              <a:buNone/>
            </a:pPr>
            <a:r>
              <a:rPr sz="1200"/>
              <a:t>La herramienta de servicio será compatible con las nuevas máquinas MH Advanced y Standard.</a:t>
            </a:r>
          </a:p>
        </p:txBody>
      </p:sp>
    </p:spTree>
    <p:extLst>
      <p:ext uri="{BB962C8B-B14F-4D97-AF65-F5344CB8AC3E}">
        <p14:creationId xmlns:p14="http://schemas.microsoft.com/office/powerpoint/2010/main" val="17720008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A843F-BAC9-7D53-0C42-3D2CE63453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6E647D-1EAE-D6BC-482D-061242607B15}"/>
              </a:ext>
            </a:extLst>
          </p:cNvPr>
          <p:cNvSpPr>
            <a:spLocks noGrp="1"/>
          </p:cNvSpPr>
          <p:nvPr>
            <p:ph type="ctrTitle"/>
          </p:nvPr>
        </p:nvSpPr>
        <p:spPr/>
        <p:txBody>
          <a:bodyPr/>
          <a:lstStyle/>
          <a:p>
            <a:r>
              <a:rPr dirty="0"/>
              <a:t>7</a:t>
            </a:r>
          </a:p>
        </p:txBody>
      </p:sp>
      <p:sp>
        <p:nvSpPr>
          <p:cNvPr id="3" name="Text Placeholder 2">
            <a:extLst>
              <a:ext uri="{FF2B5EF4-FFF2-40B4-BE49-F238E27FC236}">
                <a16:creationId xmlns:a16="http://schemas.microsoft.com/office/drawing/2014/main" id="{4BF89232-F42B-A029-15D7-0662DE559A98}"/>
              </a:ext>
            </a:extLst>
          </p:cNvPr>
          <p:cNvSpPr>
            <a:spLocks noGrp="1"/>
          </p:cNvSpPr>
          <p:nvPr>
            <p:ph type="body" sz="quarter" idx="13"/>
          </p:nvPr>
        </p:nvSpPr>
        <p:spPr/>
        <p:txBody>
          <a:bodyPr/>
          <a:lstStyle/>
          <a:p>
            <a:r>
              <a:t>Patentes</a:t>
            </a:r>
          </a:p>
        </p:txBody>
      </p:sp>
      <p:sp>
        <p:nvSpPr>
          <p:cNvPr id="4" name="Footer Placeholder 3">
            <a:extLst>
              <a:ext uri="{FF2B5EF4-FFF2-40B4-BE49-F238E27FC236}">
                <a16:creationId xmlns:a16="http://schemas.microsoft.com/office/drawing/2014/main" id="{44C4813D-2F27-00B7-057C-F1DDED392C81}"/>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2F6BFF22-B1F4-4C14-DC2E-C8C7A42EE14F}"/>
              </a:ext>
            </a:extLst>
          </p:cNvPr>
          <p:cNvSpPr>
            <a:spLocks noGrp="1"/>
          </p:cNvSpPr>
          <p:nvPr>
            <p:ph type="sldNum" sz="quarter" idx="16"/>
          </p:nvPr>
        </p:nvSpPr>
        <p:spPr/>
        <p:txBody>
          <a:bodyPr/>
          <a:lstStyle/>
          <a:p>
            <a:fld id="{6C385236-B7BA-4938-9EA6-6DEC8CA653D7}" type="slidenum">
              <a:rPr lang="en-GB" noProof="0" smtClean="0"/>
              <a:pPr/>
              <a:t>34</a:t>
            </a:fld>
            <a:endParaRPr lang="en-GB" noProof="0" dirty="0"/>
          </a:p>
        </p:txBody>
      </p:sp>
    </p:spTree>
    <p:extLst>
      <p:ext uri="{BB962C8B-B14F-4D97-AF65-F5344CB8AC3E}">
        <p14:creationId xmlns:p14="http://schemas.microsoft.com/office/powerpoint/2010/main" val="21248269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84130B6F-CC41-A42D-75A1-31A6C4CEB64B}"/>
              </a:ext>
            </a:extLst>
          </p:cNvPr>
          <p:cNvSpPr>
            <a:spLocks noGrp="1"/>
          </p:cNvSpPr>
          <p:nvPr>
            <p:ph sz="quarter" idx="18"/>
          </p:nvPr>
        </p:nvSpPr>
        <p:spPr/>
        <p:txBody>
          <a:bodyPr/>
          <a:lstStyle/>
          <a:p>
            <a:r>
              <a:t>Mayor eficiencia al precalentar el agua antes de la bomba</a:t>
            </a:r>
          </a:p>
          <a:p>
            <a:endParaRPr lang="en-GB" noProof="0" dirty="0"/>
          </a:p>
          <a:p>
            <a:r>
              <a:t>Valor para el cliente</a:t>
            </a:r>
          </a:p>
          <a:p>
            <a:pPr lvl="1"/>
            <a:r>
              <a:t>Menores costos de combustible</a:t>
            </a:r>
          </a:p>
          <a:p>
            <a:pPr lvl="1"/>
            <a:r>
              <a:t>Menores emisiones</a:t>
            </a:r>
          </a:p>
        </p:txBody>
      </p:sp>
      <p:sp>
        <p:nvSpPr>
          <p:cNvPr id="3" name="Pladsholder til tekst 2">
            <a:extLst>
              <a:ext uri="{FF2B5EF4-FFF2-40B4-BE49-F238E27FC236}">
                <a16:creationId xmlns:a16="http://schemas.microsoft.com/office/drawing/2014/main" id="{5E14D470-1100-DB57-6FFC-F0A2A13682CA}"/>
              </a:ext>
            </a:extLst>
          </p:cNvPr>
          <p:cNvSpPr>
            <a:spLocks noGrp="1"/>
          </p:cNvSpPr>
          <p:nvPr>
            <p:ph type="body" sz="quarter" idx="13"/>
          </p:nvPr>
        </p:nvSpPr>
        <p:spPr/>
        <p:txBody>
          <a:bodyPr/>
          <a:lstStyle/>
          <a:p>
            <a:r>
              <a:rPr sz="1600"/>
              <a:t>Caldera de Alta Eficiencia Energética</a:t>
            </a:r>
          </a:p>
        </p:txBody>
      </p:sp>
      <p:sp>
        <p:nvSpPr>
          <p:cNvPr id="4" name="Pladsholder til indhold 3">
            <a:extLst>
              <a:ext uri="{FF2B5EF4-FFF2-40B4-BE49-F238E27FC236}">
                <a16:creationId xmlns:a16="http://schemas.microsoft.com/office/drawing/2014/main" id="{EA508C21-FB96-152B-2E0E-653C54B4EEE4}"/>
              </a:ext>
            </a:extLst>
          </p:cNvPr>
          <p:cNvSpPr>
            <a:spLocks noGrp="1"/>
          </p:cNvSpPr>
          <p:nvPr>
            <p:ph sz="quarter" idx="23"/>
          </p:nvPr>
        </p:nvSpPr>
        <p:spPr/>
        <p:txBody>
          <a:bodyPr/>
          <a:lstStyle/>
          <a:p>
            <a:r>
              <a:t>Dosificación más precisa del detergente mediante electroválvulas</a:t>
            </a:r>
            <a:endParaRPr lang="en-GB" noProof="0" dirty="0"/>
          </a:p>
          <a:p>
            <a:endParaRPr lang="en-GB" noProof="0" dirty="0"/>
          </a:p>
          <a:p>
            <a:r>
              <a:t>Valor para el cliente</a:t>
            </a:r>
          </a:p>
          <a:p>
            <a:pPr lvl="1"/>
            <a:r>
              <a:t>Menores costos de detergente</a:t>
            </a:r>
          </a:p>
        </p:txBody>
      </p:sp>
      <p:sp>
        <p:nvSpPr>
          <p:cNvPr id="5" name="Pladsholder til tekst 4">
            <a:extLst>
              <a:ext uri="{FF2B5EF4-FFF2-40B4-BE49-F238E27FC236}">
                <a16:creationId xmlns:a16="http://schemas.microsoft.com/office/drawing/2014/main" id="{2DCED94B-D3F0-E8A6-639D-21CBD2847509}"/>
              </a:ext>
            </a:extLst>
          </p:cNvPr>
          <p:cNvSpPr>
            <a:spLocks noGrp="1"/>
          </p:cNvSpPr>
          <p:nvPr>
            <p:ph type="body" sz="quarter" idx="24"/>
          </p:nvPr>
        </p:nvSpPr>
        <p:spPr/>
        <p:txBody>
          <a:bodyPr/>
          <a:lstStyle/>
          <a:p>
            <a:r>
              <a:rPr sz="1600"/>
              <a:t>Dosificación de detergente (pendiente)</a:t>
            </a:r>
          </a:p>
        </p:txBody>
      </p:sp>
      <p:sp>
        <p:nvSpPr>
          <p:cNvPr id="6" name="Pladsholder til indhold 5">
            <a:extLst>
              <a:ext uri="{FF2B5EF4-FFF2-40B4-BE49-F238E27FC236}">
                <a16:creationId xmlns:a16="http://schemas.microsoft.com/office/drawing/2014/main" id="{C7C6E30C-A0AD-3126-A6D8-0A1DA3BE8150}"/>
              </a:ext>
            </a:extLst>
          </p:cNvPr>
          <p:cNvSpPr>
            <a:spLocks noGrp="1"/>
          </p:cNvSpPr>
          <p:nvPr>
            <p:ph sz="quarter" idx="25"/>
          </p:nvPr>
        </p:nvSpPr>
        <p:spPr/>
        <p:txBody>
          <a:bodyPr/>
          <a:lstStyle/>
          <a:p>
            <a:r>
              <a:t>Detección acústica de llamas</a:t>
            </a:r>
            <a:endParaRPr lang="en-GB" noProof="0" dirty="0"/>
          </a:p>
          <a:p>
            <a:pPr marL="0" indent="0">
              <a:buNone/>
            </a:pPr>
            <a:br>
              <a:rPr lang="en-GB" noProof="0" dirty="0"/>
            </a:br>
            <a:endParaRPr lang="en-GB" noProof="0" dirty="0"/>
          </a:p>
          <a:p>
            <a:r>
              <a:t>Valor para el cliente</a:t>
            </a:r>
          </a:p>
          <a:p>
            <a:pPr lvl="1"/>
            <a:r>
              <a:t>Detección de llama sin mantenimiento</a:t>
            </a:r>
          </a:p>
          <a:p>
            <a:pPr lvl="1"/>
            <a:r>
              <a:t>Evita que la caldera se llene de combustible diésel si la llama no está encendida.</a:t>
            </a:r>
          </a:p>
        </p:txBody>
      </p:sp>
      <p:sp>
        <p:nvSpPr>
          <p:cNvPr id="7" name="Pladsholder til tekst 6">
            <a:extLst>
              <a:ext uri="{FF2B5EF4-FFF2-40B4-BE49-F238E27FC236}">
                <a16:creationId xmlns:a16="http://schemas.microsoft.com/office/drawing/2014/main" id="{14B71315-BF08-60BF-D917-F4F97DE4F3C1}"/>
              </a:ext>
            </a:extLst>
          </p:cNvPr>
          <p:cNvSpPr>
            <a:spLocks noGrp="1"/>
          </p:cNvSpPr>
          <p:nvPr>
            <p:ph type="body" sz="quarter" idx="26"/>
          </p:nvPr>
        </p:nvSpPr>
        <p:spPr/>
        <p:txBody>
          <a:bodyPr/>
          <a:lstStyle/>
          <a:p>
            <a:r>
              <a:rPr sz="1600"/>
              <a:t>Detección de llamas (pendiente)</a:t>
            </a:r>
          </a:p>
        </p:txBody>
      </p:sp>
      <p:sp>
        <p:nvSpPr>
          <p:cNvPr id="8" name="Pladsholder til indhold 7">
            <a:extLst>
              <a:ext uri="{FF2B5EF4-FFF2-40B4-BE49-F238E27FC236}">
                <a16:creationId xmlns:a16="http://schemas.microsoft.com/office/drawing/2014/main" id="{E0BBDC4B-A08C-3CE4-BE84-6CC73632DC86}"/>
              </a:ext>
            </a:extLst>
          </p:cNvPr>
          <p:cNvSpPr>
            <a:spLocks noGrp="1"/>
          </p:cNvSpPr>
          <p:nvPr>
            <p:ph sz="quarter" idx="27"/>
          </p:nvPr>
        </p:nvSpPr>
        <p:spPr/>
        <p:txBody>
          <a:bodyPr/>
          <a:lstStyle/>
          <a:p>
            <a:r>
              <a:t>Ayuda al usuario a mantener la máquina y solucionar pequeños problemas.</a:t>
            </a:r>
          </a:p>
          <a:p>
            <a:endParaRPr lang="en-GB" noProof="0" dirty="0"/>
          </a:p>
          <a:p>
            <a:r>
              <a:t>Valor para el cliente</a:t>
            </a:r>
          </a:p>
          <a:p>
            <a:pPr lvl="1"/>
            <a:r>
              <a:t>Aumenta la disponibilidad operativa</a:t>
            </a:r>
          </a:p>
          <a:p>
            <a:pPr lvl="1"/>
            <a:r>
              <a:t>Prolonga la vida útil del producto</a:t>
            </a:r>
          </a:p>
        </p:txBody>
      </p:sp>
      <p:sp>
        <p:nvSpPr>
          <p:cNvPr id="9" name="Pladsholder til tekst 8">
            <a:extLst>
              <a:ext uri="{FF2B5EF4-FFF2-40B4-BE49-F238E27FC236}">
                <a16:creationId xmlns:a16="http://schemas.microsoft.com/office/drawing/2014/main" id="{3C72CF44-C01F-94D5-10A4-A9D5F0FFB3C8}"/>
              </a:ext>
            </a:extLst>
          </p:cNvPr>
          <p:cNvSpPr>
            <a:spLocks noGrp="1"/>
          </p:cNvSpPr>
          <p:nvPr>
            <p:ph type="body" sz="quarter" idx="28"/>
          </p:nvPr>
        </p:nvSpPr>
        <p:spPr/>
        <p:txBody>
          <a:bodyPr/>
          <a:lstStyle/>
          <a:p>
            <a:r>
              <a:rPr sz="1600"/>
              <a:t>Interfaz digital de usuario (pendiente)</a:t>
            </a:r>
          </a:p>
        </p:txBody>
      </p:sp>
      <p:sp>
        <p:nvSpPr>
          <p:cNvPr id="10" name="Pladsholder til sidefod 9">
            <a:extLst>
              <a:ext uri="{FF2B5EF4-FFF2-40B4-BE49-F238E27FC236}">
                <a16:creationId xmlns:a16="http://schemas.microsoft.com/office/drawing/2014/main" id="{897D5DCA-8F36-BB10-843F-E7B2837447DD}"/>
              </a:ext>
            </a:extLst>
          </p:cNvPr>
          <p:cNvSpPr>
            <a:spLocks noGrp="1"/>
          </p:cNvSpPr>
          <p:nvPr>
            <p:ph type="ftr" sz="quarter" idx="30"/>
          </p:nvPr>
        </p:nvSpPr>
        <p:spPr/>
        <p:txBody>
          <a:bodyPr/>
          <a:lstStyle/>
          <a:p>
            <a:pPr algn="l"/>
            <a:r>
              <a:t>INFORMACIÓN CONFIDENCIAL DE LA EMPRESA</a:t>
            </a:r>
          </a:p>
        </p:txBody>
      </p:sp>
      <p:sp>
        <p:nvSpPr>
          <p:cNvPr id="11" name="Pladsholder til slidenummer 10">
            <a:extLst>
              <a:ext uri="{FF2B5EF4-FFF2-40B4-BE49-F238E27FC236}">
                <a16:creationId xmlns:a16="http://schemas.microsoft.com/office/drawing/2014/main" id="{AFF67C63-8AB0-BFB9-689F-9940E32E349A}"/>
              </a:ext>
            </a:extLst>
          </p:cNvPr>
          <p:cNvSpPr>
            <a:spLocks noGrp="1"/>
          </p:cNvSpPr>
          <p:nvPr>
            <p:ph type="sldNum" sz="quarter" idx="31"/>
          </p:nvPr>
        </p:nvSpPr>
        <p:spPr/>
        <p:txBody>
          <a:bodyPr/>
          <a:lstStyle/>
          <a:p>
            <a:fld id="{6C385236-B7BA-4938-9EA6-6DEC8CA653D7}" type="slidenum">
              <a:rPr lang="en-GB" noProof="0" smtClean="0"/>
              <a:pPr/>
              <a:t>35</a:t>
            </a:fld>
            <a:endParaRPr lang="en-GB" noProof="0" dirty="0"/>
          </a:p>
        </p:txBody>
      </p:sp>
      <p:sp>
        <p:nvSpPr>
          <p:cNvPr id="12" name="Pladsholder til tekst 11">
            <a:extLst>
              <a:ext uri="{FF2B5EF4-FFF2-40B4-BE49-F238E27FC236}">
                <a16:creationId xmlns:a16="http://schemas.microsoft.com/office/drawing/2014/main" id="{08ACE587-A9DF-7FBE-E0BC-03358297AD6B}"/>
              </a:ext>
            </a:extLst>
          </p:cNvPr>
          <p:cNvSpPr>
            <a:spLocks noGrp="1"/>
          </p:cNvSpPr>
          <p:nvPr>
            <p:ph type="body" sz="quarter" idx="14"/>
          </p:nvPr>
        </p:nvSpPr>
        <p:spPr/>
        <p:txBody>
          <a:bodyPr/>
          <a:lstStyle/>
          <a:p>
            <a:r>
              <a:t>Impulsando el valor para el cliente y optimizando el TCO</a:t>
            </a:r>
          </a:p>
        </p:txBody>
      </p:sp>
      <p:sp>
        <p:nvSpPr>
          <p:cNvPr id="13" name="Titel 12">
            <a:extLst>
              <a:ext uri="{FF2B5EF4-FFF2-40B4-BE49-F238E27FC236}">
                <a16:creationId xmlns:a16="http://schemas.microsoft.com/office/drawing/2014/main" id="{1A63BFDE-3A06-3755-57A8-BDF9CA0B7DE1}"/>
              </a:ext>
            </a:extLst>
          </p:cNvPr>
          <p:cNvSpPr>
            <a:spLocks noGrp="1"/>
          </p:cNvSpPr>
          <p:nvPr>
            <p:ph type="title"/>
          </p:nvPr>
        </p:nvSpPr>
        <p:spPr/>
        <p:txBody>
          <a:bodyPr/>
          <a:lstStyle/>
          <a:p>
            <a:r>
              <a:t>Patentes</a:t>
            </a:r>
          </a:p>
        </p:txBody>
      </p:sp>
    </p:spTree>
    <p:extLst>
      <p:ext uri="{BB962C8B-B14F-4D97-AF65-F5344CB8AC3E}">
        <p14:creationId xmlns:p14="http://schemas.microsoft.com/office/powerpoint/2010/main" val="404413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r>
              <a:rPr dirty="0"/>
              <a:t>8</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r>
              <a:t>Resumen del producto</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fld id="{6C385236-B7BA-4938-9EA6-6DEC8CA653D7}" type="slidenum">
              <a:rPr lang="en-GB" noProof="0" smtClean="0"/>
              <a:pPr/>
              <a:t>36</a:t>
            </a:fld>
            <a:endParaRPr lang="en-GB" noProof="0" dirty="0"/>
          </a:p>
        </p:txBody>
      </p:sp>
    </p:spTree>
    <p:extLst>
      <p:ext uri="{BB962C8B-B14F-4D97-AF65-F5344CB8AC3E}">
        <p14:creationId xmlns:p14="http://schemas.microsoft.com/office/powerpoint/2010/main" val="16266423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9FCA17E-1825-3576-CFB1-0480A70B7B84}"/>
              </a:ext>
            </a:extLst>
          </p:cNvPr>
          <p:cNvSpPr>
            <a:spLocks noGrp="1"/>
          </p:cNvSpPr>
          <p:nvPr>
            <p:ph type="ftr" sz="quarter" idx="21"/>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9C5FB165-8BB4-E48D-579B-DDF52240A9A8}"/>
              </a:ext>
            </a:extLst>
          </p:cNvPr>
          <p:cNvSpPr>
            <a:spLocks noGrp="1"/>
          </p:cNvSpPr>
          <p:nvPr>
            <p:ph type="sldNum" sz="quarter" idx="22"/>
          </p:nvPr>
        </p:nvSpPr>
        <p:spPr/>
        <p:txBody>
          <a:bodyPr/>
          <a:lstStyle/>
          <a:p>
            <a:fld id="{6C385236-B7BA-4938-9EA6-6DEC8CA653D7}" type="slidenum">
              <a:rPr lang="en-GB" noProof="0" smtClean="0"/>
              <a:pPr/>
              <a:t>37</a:t>
            </a:fld>
            <a:endParaRPr lang="en-GB" noProof="0" dirty="0"/>
          </a:p>
        </p:txBody>
      </p:sp>
      <p:sp>
        <p:nvSpPr>
          <p:cNvPr id="4" name="Content Placeholder 3">
            <a:extLst>
              <a:ext uri="{FF2B5EF4-FFF2-40B4-BE49-F238E27FC236}">
                <a16:creationId xmlns:a16="http://schemas.microsoft.com/office/drawing/2014/main" id="{263B7DE7-4429-2248-6677-D3892DBB29DF}"/>
              </a:ext>
            </a:extLst>
          </p:cNvPr>
          <p:cNvSpPr>
            <a:spLocks noGrp="1"/>
          </p:cNvSpPr>
          <p:nvPr>
            <p:ph sz="quarter" idx="18"/>
          </p:nvPr>
        </p:nvSpPr>
        <p:spPr/>
        <p:txBody>
          <a:bodyPr vert="horz" lIns="216000" tIns="216000" rIns="180000" bIns="216000" rtlCol="0" anchor="t">
            <a:noAutofit/>
          </a:bodyPr>
          <a:lstStyle/>
          <a:p>
            <a:pPr marL="0" indent="0" algn="ctr">
              <a:lnSpc>
                <a:spcPct val="90000"/>
              </a:lnSpc>
              <a:buNone/>
            </a:pPr>
            <a:endParaRPr lang="en-GB" sz="1200" b="1" noProof="0" dirty="0"/>
          </a:p>
          <a:p>
            <a:pPr marL="0" indent="0" algn="ctr">
              <a:lnSpc>
                <a:spcPct val="90000"/>
              </a:lnSpc>
              <a:buNone/>
            </a:pPr>
            <a:r>
              <a:rPr sz="1200" b="1"/>
              <a:t>Gama Avanzada – MH35-85</a:t>
            </a:r>
            <a:endParaRPr lang="en-GB" sz="1200" b="1" noProof="0" dirty="0">
              <a:ea typeface="Roboto Light"/>
              <a:cs typeface="Roboto Light"/>
            </a:endParaRPr>
          </a:p>
          <a:p>
            <a:pPr marL="0" indent="0" algn="ctr">
              <a:lnSpc>
                <a:spcPct val="90000"/>
              </a:lnSpc>
              <a:buNone/>
            </a:pPr>
            <a:endParaRPr lang="en-GB" sz="1200" b="1" noProof="0" dirty="0"/>
          </a:p>
          <a:p>
            <a:pPr marL="0" indent="0">
              <a:lnSpc>
                <a:spcPct val="90000"/>
              </a:lnSpc>
              <a:buNone/>
            </a:pPr>
            <a:r>
              <a:rPr sz="1200" b="1"/>
              <a:t>Clientes a los que va dirigido:</a:t>
            </a:r>
            <a:endParaRPr lang="en-GB" sz="1200" b="1" noProof="0" dirty="0">
              <a:ea typeface="Roboto Light"/>
              <a:cs typeface="Roboto Light"/>
            </a:endParaRPr>
          </a:p>
          <a:p>
            <a:pPr marL="198755" indent="-198755">
              <a:lnSpc>
                <a:spcPct val="90000"/>
              </a:lnSpc>
              <a:defRPr sz="1600" b="0"/>
            </a:pPr>
            <a:r>
              <a:rPr sz="1200"/>
              <a:t>Usuarios profesionales que requieren una limpieza continua e intensiva</a:t>
            </a:r>
            <a:endParaRPr lang="en-GB" sz="1200" noProof="0" dirty="0">
              <a:ea typeface="Roboto Light"/>
              <a:cs typeface="Roboto Light"/>
            </a:endParaRPr>
          </a:p>
          <a:p>
            <a:pPr marL="198755" indent="-198755">
              <a:lnSpc>
                <a:spcPct val="90000"/>
              </a:lnSpc>
              <a:defRPr sz="1600" b="0"/>
            </a:pPr>
            <a:r>
              <a:rPr sz="1200"/>
              <a:t>Profesionales exigentes</a:t>
            </a:r>
            <a:endParaRPr lang="en-GB" sz="1200" noProof="0" dirty="0">
              <a:ea typeface="Roboto Light"/>
              <a:cs typeface="Roboto Light"/>
            </a:endParaRPr>
          </a:p>
          <a:p>
            <a:pPr marL="0" indent="0">
              <a:lnSpc>
                <a:spcPct val="90000"/>
              </a:lnSpc>
              <a:buNone/>
              <a:defRPr sz="1600" b="0"/>
            </a:pPr>
            <a:r>
              <a:rPr sz="1200" b="1"/>
              <a:t>Necesidades clave:</a:t>
            </a:r>
            <a:endParaRPr lang="en-GB" sz="1200" b="1" noProof="0" dirty="0">
              <a:ea typeface="Roboto Light"/>
              <a:cs typeface="Roboto Light"/>
            </a:endParaRPr>
          </a:p>
          <a:p>
            <a:pPr marL="198755" indent="-198755">
              <a:lnSpc>
                <a:spcPct val="90000"/>
              </a:lnSpc>
              <a:defRPr sz="1600" b="0"/>
            </a:pPr>
            <a:r>
              <a:rPr sz="1200"/>
              <a:t>Alto rendimiento para suciedad y grasa pesadas</a:t>
            </a:r>
            <a:endParaRPr lang="en-GB" sz="1200" noProof="0" dirty="0">
              <a:ea typeface="Roboto Light"/>
              <a:cs typeface="Roboto Light"/>
            </a:endParaRPr>
          </a:p>
          <a:p>
            <a:pPr marL="198755" indent="-198755">
              <a:lnSpc>
                <a:spcPct val="90000"/>
              </a:lnSpc>
              <a:defRPr sz="1600" b="0"/>
            </a:pPr>
            <a:r>
              <a:rPr sz="1200"/>
              <a:t>Quemador de bajo consumo y fiabilidad en funcionamiento continuo</a:t>
            </a:r>
            <a:endParaRPr lang="en-GB" sz="1200" noProof="0" dirty="0">
              <a:ea typeface="Roboto Light"/>
              <a:cs typeface="Roboto Light"/>
            </a:endParaRPr>
          </a:p>
          <a:p>
            <a:pPr marL="198755" indent="-198755">
              <a:lnSpc>
                <a:spcPct val="90000"/>
              </a:lnSpc>
              <a:defRPr sz="1600" b="0"/>
            </a:pPr>
            <a:r>
              <a:rPr sz="1200"/>
              <a:t>Mantenimiento sencillo y máximo tiempo de actividad</a:t>
            </a:r>
            <a:endParaRPr lang="en-GB" sz="1200" noProof="0" dirty="0">
              <a:ea typeface="Roboto Light"/>
              <a:cs typeface="Roboto Light"/>
            </a:endParaRPr>
          </a:p>
          <a:p>
            <a:pPr marL="0" indent="0">
              <a:lnSpc>
                <a:spcPct val="90000"/>
              </a:lnSpc>
              <a:buNone/>
              <a:defRPr sz="1600" b="0"/>
            </a:pPr>
            <a:r>
              <a:rPr sz="1200" b="1"/>
              <a:t>Características destacadas:</a:t>
            </a:r>
            <a:endParaRPr lang="en-GB" sz="1200" b="1" noProof="0" dirty="0">
              <a:ea typeface="Roboto Light"/>
              <a:cs typeface="Roboto Light"/>
            </a:endParaRPr>
          </a:p>
          <a:p>
            <a:pPr marL="198755" indent="-198755">
              <a:lnSpc>
                <a:spcPct val="90000"/>
              </a:lnSpc>
              <a:defRPr sz="1600" b="0"/>
            </a:pPr>
            <a:r>
              <a:rPr sz="1200"/>
              <a:t>Controles avanzados, eficiencia y facilidad de mantenimiento</a:t>
            </a:r>
            <a:endParaRPr lang="en-GB" sz="1200" noProof="0" dirty="0">
              <a:ea typeface="Roboto Light"/>
              <a:cs typeface="Roboto Light"/>
            </a:endParaRPr>
          </a:p>
          <a:p>
            <a:pPr marL="0" indent="0">
              <a:lnSpc>
                <a:spcPct val="90000"/>
              </a:lnSpc>
              <a:buNone/>
              <a:defRPr sz="1600" b="0"/>
            </a:pPr>
            <a:endParaRPr lang="en-GB" sz="1200" noProof="0" dirty="0"/>
          </a:p>
          <a:p>
            <a:pPr marL="0" indent="0">
              <a:lnSpc>
                <a:spcPct val="90000"/>
              </a:lnSpc>
              <a:buNone/>
              <a:defRPr sz="1600" b="0"/>
            </a:pPr>
            <a:r>
              <a:rPr sz="1200" b="1"/>
              <a:t>Prioridades:</a:t>
            </a:r>
            <a:endParaRPr lang="en-GB" sz="1200" b="1" noProof="0" dirty="0">
              <a:ea typeface="Roboto Light"/>
              <a:cs typeface="Roboto Light"/>
            </a:endParaRPr>
          </a:p>
          <a:p>
            <a:pPr marL="198755" indent="-198755">
              <a:lnSpc>
                <a:spcPct val="90000"/>
              </a:lnSpc>
              <a:defRPr sz="1600" b="0"/>
            </a:pPr>
            <a:r>
              <a:rPr sz="1200"/>
              <a:t>Rendimiento, eficiencia, durabilidad</a:t>
            </a:r>
            <a:endParaRPr lang="en-GB" sz="1200" noProof="0" dirty="0">
              <a:ea typeface="Roboto Light"/>
              <a:cs typeface="Roboto Light"/>
            </a:endParaRPr>
          </a:p>
          <a:p>
            <a:pPr marL="0" indent="0">
              <a:lnSpc>
                <a:spcPct val="90000"/>
              </a:lnSpc>
              <a:buNone/>
              <a:defRPr sz="1600" b="0"/>
            </a:pPr>
            <a:endParaRPr lang="en-GB" sz="1200" noProof="0" dirty="0"/>
          </a:p>
          <a:p>
            <a:pPr marL="0" indent="0">
              <a:lnSpc>
                <a:spcPct val="90000"/>
              </a:lnSpc>
              <a:buNone/>
              <a:defRPr sz="1600" b="0"/>
            </a:pPr>
            <a:r>
              <a:rPr sz="1200" b="1"/>
              <a:t>Motivación </a:t>
            </a:r>
            <a:r>
              <a:rPr sz="1200"/>
              <a:t>principal:</a:t>
            </a:r>
          </a:p>
          <a:p>
            <a:pPr marL="198755" indent="-198755">
              <a:lnSpc>
                <a:spcPct val="90000"/>
              </a:lnSpc>
              <a:defRPr sz="1600" b="0"/>
            </a:pPr>
            <a:r>
              <a:rPr sz="1200"/>
              <a:t>Una solución potente y eficiente diseñada para aplicaciones exigentes.</a:t>
            </a:r>
            <a:endParaRPr lang="en-GB" sz="1200" noProof="0" dirty="0">
              <a:ea typeface="Roboto Light"/>
              <a:cs typeface="Roboto Light"/>
            </a:endParaRPr>
          </a:p>
          <a:p>
            <a:pPr marL="198755" indent="-198755"/>
            <a:endParaRPr lang="en-GB" sz="1200" noProof="0" dirty="0">
              <a:ea typeface="Roboto Light"/>
              <a:cs typeface="Roboto Light"/>
            </a:endParaRPr>
          </a:p>
        </p:txBody>
      </p:sp>
      <p:sp>
        <p:nvSpPr>
          <p:cNvPr id="5" name="Content Placeholder 4">
            <a:extLst>
              <a:ext uri="{FF2B5EF4-FFF2-40B4-BE49-F238E27FC236}">
                <a16:creationId xmlns:a16="http://schemas.microsoft.com/office/drawing/2014/main" id="{DC442222-46A3-5044-F8C9-497C84DE0055}"/>
              </a:ext>
            </a:extLst>
          </p:cNvPr>
          <p:cNvSpPr>
            <a:spLocks noGrp="1"/>
          </p:cNvSpPr>
          <p:nvPr>
            <p:ph sz="quarter" idx="23"/>
          </p:nvPr>
        </p:nvSpPr>
        <p:spPr/>
        <p:txBody>
          <a:bodyPr vert="horz" lIns="216000" tIns="216000" rIns="180000" bIns="216000" rtlCol="0" anchor="t">
            <a:noAutofit/>
          </a:bodyPr>
          <a:lstStyle/>
          <a:p>
            <a:pPr marL="0" indent="0" algn="ctr">
              <a:lnSpc>
                <a:spcPct val="90000"/>
              </a:lnSpc>
              <a:buNone/>
            </a:pPr>
            <a:endParaRPr lang="en-GB" sz="1200" b="1" noProof="0" dirty="0"/>
          </a:p>
          <a:p>
            <a:pPr marL="0" indent="0" algn="ctr">
              <a:lnSpc>
                <a:spcPct val="90000"/>
              </a:lnSpc>
              <a:buNone/>
            </a:pPr>
            <a:r>
              <a:rPr sz="1200" b="1"/>
              <a:t>Gama estándar – MH20-70</a:t>
            </a:r>
          </a:p>
          <a:p>
            <a:pPr marL="198755" indent="-198755">
              <a:lnSpc>
                <a:spcPct val="90000"/>
              </a:lnSpc>
            </a:pPr>
            <a:endParaRPr lang="en-GB" sz="1200" b="1" noProof="0" dirty="0">
              <a:ea typeface="Roboto Light"/>
              <a:cs typeface="Roboto Light"/>
            </a:endParaRPr>
          </a:p>
          <a:p>
            <a:pPr marL="0" indent="0">
              <a:lnSpc>
                <a:spcPct val="90000"/>
              </a:lnSpc>
              <a:buNone/>
            </a:pPr>
            <a:r>
              <a:rPr sz="1200" b="1"/>
              <a:t>Clientes a los que va dirigido:</a:t>
            </a:r>
            <a:endParaRPr lang="en-GB" sz="1200" b="1" noProof="0" dirty="0">
              <a:ea typeface="Roboto Light"/>
              <a:cs typeface="Roboto Light"/>
            </a:endParaRPr>
          </a:p>
          <a:p>
            <a:pPr marL="198755" indent="-198755">
              <a:lnSpc>
                <a:spcPct val="90000"/>
              </a:lnSpc>
              <a:defRPr sz="1600" b="0"/>
            </a:pPr>
            <a:r>
              <a:rPr sz="1200"/>
              <a:t>Profesionales que cuidan su presupuesto</a:t>
            </a:r>
            <a:endParaRPr lang="en-GB" sz="1200" noProof="0" dirty="0">
              <a:ea typeface="Roboto Light"/>
              <a:cs typeface="Roboto Light"/>
            </a:endParaRPr>
          </a:p>
          <a:p>
            <a:pPr marL="198755" indent="-198755">
              <a:lnSpc>
                <a:spcPct val="90000"/>
              </a:lnSpc>
              <a:defRPr sz="1600" b="0"/>
            </a:pPr>
            <a:r>
              <a:rPr sz="1200"/>
              <a:t>Usuarios prácticos que solo requieren funcionalidad básica</a:t>
            </a:r>
            <a:endParaRPr lang="en-GB" sz="1200" noProof="0" dirty="0">
              <a:ea typeface="Roboto Light"/>
              <a:cs typeface="Roboto Light"/>
            </a:endParaRPr>
          </a:p>
          <a:p>
            <a:pPr marL="0" indent="0">
              <a:lnSpc>
                <a:spcPct val="90000"/>
              </a:lnSpc>
              <a:buNone/>
              <a:defRPr sz="1600" b="0"/>
            </a:pPr>
            <a:r>
              <a:rPr sz="1200" b="1"/>
              <a:t>Necesidades clave:</a:t>
            </a:r>
            <a:endParaRPr lang="en-GB" sz="1200" b="1" noProof="0" dirty="0">
              <a:ea typeface="Roboto Light"/>
              <a:cs typeface="Roboto Light"/>
            </a:endParaRPr>
          </a:p>
          <a:p>
            <a:pPr marL="198755" indent="-198755">
              <a:lnSpc>
                <a:spcPct val="90000"/>
              </a:lnSpc>
              <a:defRPr sz="1600" b="0"/>
            </a:pPr>
            <a:r>
              <a:rPr sz="1200"/>
              <a:t>Limpieza rápida y versátil para herramientas, vehículos y superficies</a:t>
            </a:r>
            <a:endParaRPr lang="en-GB" sz="1200" noProof="0" dirty="0">
              <a:ea typeface="Roboto Light"/>
              <a:cs typeface="Roboto Light"/>
            </a:endParaRPr>
          </a:p>
          <a:p>
            <a:pPr marL="198755" indent="-198755">
              <a:lnSpc>
                <a:spcPct val="90000"/>
              </a:lnSpc>
              <a:defRPr sz="1600" b="0"/>
            </a:pPr>
            <a:r>
              <a:rPr sz="1200"/>
              <a:t>Diseño compacto y fácil de transportar</a:t>
            </a:r>
            <a:endParaRPr lang="en-GB" sz="1200" noProof="0" dirty="0">
              <a:ea typeface="Roboto Light"/>
              <a:cs typeface="Roboto Light"/>
            </a:endParaRPr>
          </a:p>
          <a:p>
            <a:pPr marL="198755" indent="-198755">
              <a:lnSpc>
                <a:spcPct val="90000"/>
              </a:lnSpc>
              <a:defRPr sz="1600" b="0"/>
            </a:pPr>
            <a:r>
              <a:rPr sz="1200"/>
              <a:t>Rendimiento fiable y bajo costo operativo</a:t>
            </a:r>
            <a:endParaRPr lang="en-GB" sz="1200" noProof="0" dirty="0">
              <a:ea typeface="Roboto Light"/>
              <a:cs typeface="Roboto Light"/>
            </a:endParaRPr>
          </a:p>
          <a:p>
            <a:pPr marL="0" indent="0">
              <a:lnSpc>
                <a:spcPct val="90000"/>
              </a:lnSpc>
              <a:buNone/>
              <a:defRPr sz="1600" b="0"/>
            </a:pPr>
            <a:r>
              <a:rPr sz="1200" b="1"/>
              <a:t>Características destacadas:</a:t>
            </a:r>
            <a:endParaRPr lang="en-GB" sz="1200" b="1" noProof="0" dirty="0">
              <a:ea typeface="Roboto Light"/>
              <a:cs typeface="Roboto Light"/>
            </a:endParaRPr>
          </a:p>
          <a:p>
            <a:pPr marL="198755" indent="-198755">
              <a:lnSpc>
                <a:spcPct val="90000"/>
              </a:lnSpc>
              <a:defRPr sz="1600" b="0"/>
            </a:pPr>
            <a:r>
              <a:rPr sz="1200"/>
              <a:t>Funcionalidad principal de limpieza</a:t>
            </a:r>
            <a:endParaRPr lang="en-GB" sz="1200" noProof="0" dirty="0">
              <a:ea typeface="Roboto Light"/>
              <a:cs typeface="Roboto Light"/>
            </a:endParaRPr>
          </a:p>
          <a:p>
            <a:pPr marL="198755" indent="-198755">
              <a:lnSpc>
                <a:spcPct val="90000"/>
              </a:lnSpc>
              <a:defRPr sz="1600" b="0"/>
            </a:pPr>
            <a:endParaRPr lang="en-GB" sz="1200" noProof="0" dirty="0">
              <a:ea typeface="Roboto Light"/>
              <a:cs typeface="Roboto Light"/>
            </a:endParaRPr>
          </a:p>
          <a:p>
            <a:pPr marL="0" indent="0">
              <a:lnSpc>
                <a:spcPct val="90000"/>
              </a:lnSpc>
              <a:buNone/>
              <a:defRPr sz="1600" b="0"/>
            </a:pPr>
            <a:r>
              <a:rPr sz="1200" b="1"/>
              <a:t>Prioridades:</a:t>
            </a:r>
            <a:endParaRPr lang="en-GB" sz="1200" b="1" noProof="0" dirty="0">
              <a:ea typeface="Roboto Light"/>
              <a:cs typeface="Roboto Light"/>
            </a:endParaRPr>
          </a:p>
          <a:p>
            <a:pPr marL="198755" indent="-198755">
              <a:lnSpc>
                <a:spcPct val="90000"/>
              </a:lnSpc>
              <a:defRPr sz="1600" b="0"/>
            </a:pPr>
            <a:r>
              <a:rPr sz="1200"/>
              <a:t>Economía y simplicidad</a:t>
            </a:r>
            <a:endParaRPr lang="en-GB" sz="1200" noProof="0" dirty="0">
              <a:ea typeface="Roboto Light"/>
              <a:cs typeface="Roboto Light"/>
            </a:endParaRPr>
          </a:p>
          <a:p>
            <a:pPr marL="198755" indent="-198755">
              <a:lnSpc>
                <a:spcPct val="90000"/>
              </a:lnSpc>
              <a:defRPr sz="1600" b="0"/>
            </a:pPr>
            <a:endParaRPr lang="en-GB" sz="1200" noProof="0" dirty="0">
              <a:ea typeface="Roboto Light"/>
              <a:cs typeface="Roboto Light"/>
            </a:endParaRPr>
          </a:p>
          <a:p>
            <a:pPr marL="0" indent="0">
              <a:lnSpc>
                <a:spcPct val="90000"/>
              </a:lnSpc>
              <a:buNone/>
              <a:defRPr sz="1600" b="0"/>
            </a:pPr>
            <a:r>
              <a:rPr sz="1200" b="1"/>
              <a:t>Motivación principal:</a:t>
            </a:r>
          </a:p>
          <a:p>
            <a:pPr marL="198755" indent="-198755">
              <a:lnSpc>
                <a:spcPct val="90000"/>
              </a:lnSpc>
              <a:defRPr sz="1600" b="0"/>
            </a:pPr>
            <a:r>
              <a:rPr sz="1200"/>
              <a:t>Un limpiador de agua caliente sencillo, eficiente y asequible para uso diario.</a:t>
            </a:r>
            <a:endParaRPr lang="en-GB" sz="1200" noProof="0" dirty="0">
              <a:ea typeface="Roboto Light"/>
              <a:cs typeface="Roboto Light"/>
            </a:endParaRPr>
          </a:p>
          <a:p>
            <a:pPr marL="198755" indent="-198755"/>
            <a:endParaRPr lang="en-GB" sz="1200" noProof="0" dirty="0">
              <a:ea typeface="Roboto Light"/>
              <a:cs typeface="Roboto Light"/>
            </a:endParaRPr>
          </a:p>
        </p:txBody>
      </p:sp>
      <p:sp>
        <p:nvSpPr>
          <p:cNvPr id="6" name="Text Placeholder 5">
            <a:extLst>
              <a:ext uri="{FF2B5EF4-FFF2-40B4-BE49-F238E27FC236}">
                <a16:creationId xmlns:a16="http://schemas.microsoft.com/office/drawing/2014/main" id="{9ED3FA59-0907-A693-AA59-60B08A7B3960}"/>
              </a:ext>
            </a:extLst>
          </p:cNvPr>
          <p:cNvSpPr>
            <a:spLocks noGrp="1"/>
          </p:cNvSpPr>
          <p:nvPr>
            <p:ph type="body" sz="quarter" idx="14"/>
          </p:nvPr>
        </p:nvSpPr>
        <p:spPr/>
        <p:txBody>
          <a:bodyPr/>
          <a:lstStyle/>
          <a:p>
            <a:r>
              <a:t>Perfiles de clientes</a:t>
            </a:r>
          </a:p>
        </p:txBody>
      </p:sp>
      <p:sp>
        <p:nvSpPr>
          <p:cNvPr id="7" name="Title 6">
            <a:extLst>
              <a:ext uri="{FF2B5EF4-FFF2-40B4-BE49-F238E27FC236}">
                <a16:creationId xmlns:a16="http://schemas.microsoft.com/office/drawing/2014/main" id="{73C231A8-D010-A064-F0BF-776C1E65918A}"/>
              </a:ext>
            </a:extLst>
          </p:cNvPr>
          <p:cNvSpPr>
            <a:spLocks noGrp="1"/>
          </p:cNvSpPr>
          <p:nvPr>
            <p:ph type="title"/>
          </p:nvPr>
        </p:nvSpPr>
        <p:spPr/>
        <p:txBody>
          <a:bodyPr/>
          <a:lstStyle/>
          <a:p>
            <a:r>
              <a:t>Gama MH</a:t>
            </a:r>
          </a:p>
        </p:txBody>
      </p:sp>
    </p:spTree>
    <p:extLst>
      <p:ext uri="{BB962C8B-B14F-4D97-AF65-F5344CB8AC3E}">
        <p14:creationId xmlns:p14="http://schemas.microsoft.com/office/powerpoint/2010/main" val="13874485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43D2-E8FD-85D3-0A02-5B0ED624FD15}"/>
            </a:ext>
          </a:extLst>
        </p:cNvPr>
        <p:cNvGrpSpPr/>
        <p:nvPr/>
      </p:nvGrpSpPr>
      <p:grpSpPr>
        <a:xfrm>
          <a:off x="0" y="0"/>
          <a:ext cx="0" cy="0"/>
          <a:chOff x="0" y="0"/>
          <a:chExt cx="0" cy="0"/>
        </a:xfrm>
      </p:grpSpPr>
      <p:sp>
        <p:nvSpPr>
          <p:cNvPr id="33" name="Content Placeholder 1">
            <a:extLst>
              <a:ext uri="{FF2B5EF4-FFF2-40B4-BE49-F238E27FC236}">
                <a16:creationId xmlns:a16="http://schemas.microsoft.com/office/drawing/2014/main" id="{E98B5A43-9FC8-30F0-F586-72E487536EA8}"/>
              </a:ext>
            </a:extLst>
          </p:cNvPr>
          <p:cNvSpPr>
            <a:spLocks noGrp="1"/>
          </p:cNvSpPr>
          <p:nvPr>
            <p:ph type="body" sz="quarter" idx="18"/>
          </p:nvPr>
        </p:nvSpPr>
        <p:spPr>
          <a:xfrm>
            <a:off x="475521" y="1402365"/>
            <a:ext cx="11712575" cy="629133"/>
          </a:xfrm>
        </p:spPr>
        <p:txBody>
          <a:bodyPr anchor="t">
            <a:normAutofit fontScale="92500" lnSpcReduction="10000"/>
          </a:bodyPr>
          <a:lstStyle/>
          <a:p>
            <a:pPr marL="0" indent="0">
              <a:buNone/>
            </a:pPr>
            <a:r>
              <a:rPr sz="1600"/>
              <a:t>Con la gama MH, los clientes pueden elegir el nivel de rendimiento que mejor se adapte a su negocio, desde soluciones de limpieza rentables hasta máxima productividad. Cada modelo incorpora la reconocida tecnología de agua caliente de Nilfisk y su calidad confiable, garantizando durabilidad y rendimiento a largo plazo para todas las necesidades y presupuestos.</a:t>
            </a:r>
          </a:p>
          <a:p>
            <a:endParaRPr lang="en-GB" sz="1200" noProof="0" dirty="0"/>
          </a:p>
          <a:p>
            <a:endParaRPr lang="en-GB" sz="1200" noProof="0" dirty="0"/>
          </a:p>
          <a:p>
            <a:endParaRPr lang="en-GB" sz="1200" noProof="0" dirty="0"/>
          </a:p>
          <a:p>
            <a:endParaRPr lang="en-GB" sz="1200" noProof="0" dirty="0"/>
          </a:p>
          <a:p>
            <a:endParaRPr lang="en-GB" sz="1200" noProof="0" dirty="0"/>
          </a:p>
          <a:p>
            <a:endParaRPr lang="en-GB" sz="1200" noProof="0" dirty="0"/>
          </a:p>
          <a:p>
            <a:endParaRPr lang="en-GB" sz="1200" noProof="0" dirty="0"/>
          </a:p>
          <a:p>
            <a:pPr marL="0" indent="0">
              <a:buNone/>
            </a:pPr>
            <a:endParaRPr lang="en-GB" sz="1200" b="1" noProof="0" dirty="0">
              <a:ea typeface="Roboto Light" panose="02000000000000000000" pitchFamily="2" charset="0"/>
            </a:endParaRPr>
          </a:p>
        </p:txBody>
      </p:sp>
      <p:sp>
        <p:nvSpPr>
          <p:cNvPr id="5" name="Footer Placeholder 4">
            <a:extLst>
              <a:ext uri="{FF2B5EF4-FFF2-40B4-BE49-F238E27FC236}">
                <a16:creationId xmlns:a16="http://schemas.microsoft.com/office/drawing/2014/main" id="{D9598061-C2F4-86A0-50E4-C29547F38333}"/>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6" name="Slide Number Placeholder 5">
            <a:extLst>
              <a:ext uri="{FF2B5EF4-FFF2-40B4-BE49-F238E27FC236}">
                <a16:creationId xmlns:a16="http://schemas.microsoft.com/office/drawing/2014/main" id="{15FAC226-9B57-BE5C-B650-70933AF83332}"/>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38</a:t>
            </a:fld>
            <a:endParaRPr lang="en-GB" noProof="0" dirty="0"/>
          </a:p>
        </p:txBody>
      </p:sp>
      <p:sp>
        <p:nvSpPr>
          <p:cNvPr id="3" name="Text Placeholder 2">
            <a:extLst>
              <a:ext uri="{FF2B5EF4-FFF2-40B4-BE49-F238E27FC236}">
                <a16:creationId xmlns:a16="http://schemas.microsoft.com/office/drawing/2014/main" id="{5AAF8AD2-4320-4F97-B3FA-F0BBA1EA27F1}"/>
              </a:ext>
            </a:extLst>
          </p:cNvPr>
          <p:cNvSpPr>
            <a:spLocks noGrp="1"/>
          </p:cNvSpPr>
          <p:nvPr>
            <p:ph type="body" sz="quarter" idx="14"/>
          </p:nvPr>
        </p:nvSpPr>
        <p:spPr>
          <a:xfrm>
            <a:off x="475521" y="873877"/>
            <a:ext cx="5507038" cy="376456"/>
          </a:xfrm>
        </p:spPr>
        <p:txBody>
          <a:bodyPr>
            <a:normAutofit/>
          </a:bodyPr>
          <a:lstStyle/>
          <a:p>
            <a:r>
              <a:t>Una gama, dos beneficios</a:t>
            </a:r>
          </a:p>
        </p:txBody>
      </p:sp>
      <p:sp>
        <p:nvSpPr>
          <p:cNvPr id="4" name="Title 3">
            <a:extLst>
              <a:ext uri="{FF2B5EF4-FFF2-40B4-BE49-F238E27FC236}">
                <a16:creationId xmlns:a16="http://schemas.microsoft.com/office/drawing/2014/main" id="{5CBDBBC9-F880-2E52-46BC-23287B019AED}"/>
              </a:ext>
            </a:extLst>
          </p:cNvPr>
          <p:cNvSpPr>
            <a:spLocks noGrp="1"/>
          </p:cNvSpPr>
          <p:nvPr>
            <p:ph type="title"/>
          </p:nvPr>
        </p:nvSpPr>
        <p:spPr>
          <a:xfrm>
            <a:off x="479425" y="494490"/>
            <a:ext cx="5506081" cy="388013"/>
          </a:xfrm>
        </p:spPr>
        <p:txBody>
          <a:bodyPr anchor="t">
            <a:normAutofit/>
          </a:bodyPr>
          <a:lstStyle/>
          <a:p>
            <a:r>
              <a:rPr sz="2400"/>
              <a:t>La gama MH</a:t>
            </a:r>
          </a:p>
        </p:txBody>
      </p:sp>
      <p:sp>
        <p:nvSpPr>
          <p:cNvPr id="2" name="Content Placeholder 1">
            <a:extLst>
              <a:ext uri="{FF2B5EF4-FFF2-40B4-BE49-F238E27FC236}">
                <a16:creationId xmlns:a16="http://schemas.microsoft.com/office/drawing/2014/main" id="{8073CB79-1EE7-2504-0A01-E657ED21E55F}"/>
              </a:ext>
            </a:extLst>
          </p:cNvPr>
          <p:cNvSpPr txBox="1">
            <a:spLocks/>
          </p:cNvSpPr>
          <p:nvPr/>
        </p:nvSpPr>
        <p:spPr>
          <a:xfrm>
            <a:off x="6244429" y="1845058"/>
            <a:ext cx="5149479" cy="4870450"/>
          </a:xfrm>
          <a:prstGeom prst="rect">
            <a:avLst/>
          </a:prstGeom>
          <a:noFill/>
        </p:spPr>
        <p:txBody>
          <a:bodyPr vert="horz" lIns="0" tIns="0" rIns="0" bIns="0" rtlCol="0" anchor="t">
            <a:norm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sz="1200" noProof="0" dirty="0"/>
          </a:p>
          <a:p>
            <a:pPr marL="198755" indent="-198755"/>
            <a:endParaRPr lang="en-GB" sz="1200" noProof="0" dirty="0">
              <a:ea typeface="Roboto Light"/>
              <a:cs typeface="Roboto Light"/>
            </a:endParaRPr>
          </a:p>
          <a:p>
            <a:pPr marL="0" indent="0">
              <a:buNone/>
            </a:pPr>
            <a:endParaRPr lang="en-GB" sz="1200" noProof="0" dirty="0"/>
          </a:p>
          <a:p>
            <a:pPr marL="0" indent="0">
              <a:buNone/>
            </a:pPr>
            <a:r>
              <a:rPr sz="1600" b="1"/>
              <a:t>Gama estándar (MH20–70)</a:t>
            </a:r>
          </a:p>
          <a:p>
            <a:pPr marL="0" indent="0">
              <a:buNone/>
            </a:pPr>
            <a:r>
              <a:rPr sz="1200" b="1"/>
              <a:t>Fiable, eficiente y creado para ofrecer valor</a:t>
            </a:r>
            <a:endParaRPr lang="en-GB" sz="1200" noProof="0" dirty="0"/>
          </a:p>
          <a:p>
            <a:pPr marL="198755" indent="-198755"/>
            <a:r>
              <a:rPr sz="1200"/>
              <a:t>Equipado con la caldera EcoPower, que ofrece </a:t>
            </a:r>
            <a:r>
              <a:t>una </a:t>
            </a:r>
            <a:r>
              <a:rPr sz="1200"/>
              <a:t>eficiencia energética de aproximadamente un 92%.</a:t>
            </a:r>
            <a:endParaRPr lang="en-GB" sz="1200" noProof="0" dirty="0">
              <a:ea typeface="Roboto Light"/>
              <a:cs typeface="Roboto Light"/>
            </a:endParaRPr>
          </a:p>
          <a:p>
            <a:pPr marL="198755" indent="-198755"/>
            <a:r>
              <a:rPr sz="1200"/>
              <a:t>Lanza universal y sistema de control con dial sencillo para un uso intuitivo</a:t>
            </a:r>
          </a:p>
          <a:p>
            <a:pPr marL="198755" indent="-198755"/>
            <a:r>
              <a:rPr sz="1200"/>
              <a:t>Certificado por EUnited por su eficiencia y bajas emisiones.</a:t>
            </a:r>
            <a:endParaRPr lang="en-GB" sz="1200" noProof="0" dirty="0">
              <a:ea typeface="Roboto Light"/>
              <a:cs typeface="Roboto Light"/>
            </a:endParaRPr>
          </a:p>
          <a:p>
            <a:pPr marL="198755" indent="-198755"/>
            <a:r>
              <a:rPr sz="1200"/>
              <a:t>Compatible con biocombustibles para reducir las emisiones y lograr un funcionamiento más limpio</a:t>
            </a:r>
            <a:endParaRPr lang="en-GB" sz="1200" noProof="0" dirty="0">
              <a:ea typeface="Roboto Light"/>
              <a:cs typeface="Roboto Light"/>
            </a:endParaRPr>
          </a:p>
          <a:p>
            <a:pPr marL="0" indent="0">
              <a:buNone/>
            </a:pPr>
            <a:endParaRPr lang="en-GB" sz="1200" noProof="0" dirty="0"/>
          </a:p>
          <a:p>
            <a:pPr marL="198755" indent="-198755">
              <a:buFont typeface="Wingdings" panose="05000000000000000000" pitchFamily="2" charset="2"/>
              <a:buChar char="ü"/>
            </a:pPr>
            <a:r>
              <a:rPr sz="1200"/>
              <a:t>Calidad comprobada Nilfisk</a:t>
            </a:r>
            <a:endParaRPr lang="en-GB" sz="1200" noProof="0" dirty="0">
              <a:ea typeface="Roboto Light"/>
              <a:cs typeface="Roboto Light"/>
            </a:endParaRPr>
          </a:p>
          <a:p>
            <a:pPr marL="198755" indent="-198755">
              <a:buFont typeface="Wingdings" panose="05000000000000000000" pitchFamily="2" charset="2"/>
              <a:buChar char="ü"/>
            </a:pPr>
            <a:r>
              <a:rPr sz="1200"/>
              <a:t>Fácil de usar</a:t>
            </a:r>
            <a:endParaRPr lang="en-GB" sz="1200" noProof="0" dirty="0">
              <a:ea typeface="Roboto Light"/>
              <a:cs typeface="Roboto Light"/>
            </a:endParaRPr>
          </a:p>
          <a:p>
            <a:pPr marL="198755" indent="-198755">
              <a:buFont typeface="Wingdings" panose="05000000000000000000" pitchFamily="2" charset="2"/>
              <a:buChar char="ü"/>
            </a:pPr>
            <a:r>
              <a:rPr sz="1200"/>
              <a:t>Bajos costos de funcionamiento y resultados confiables</a:t>
            </a:r>
            <a:endParaRPr lang="en-GB" sz="1200" noProof="0" dirty="0">
              <a:ea typeface="Roboto Light"/>
              <a:cs typeface="Roboto Light"/>
            </a:endParaRPr>
          </a:p>
          <a:p>
            <a:pPr marL="0" indent="0">
              <a:buFont typeface="Arial" panose="020B0604020202020204" pitchFamily="34" charset="0"/>
              <a:buNone/>
            </a:pPr>
            <a:endParaRPr lang="en-GB" sz="1200" b="1" noProof="0" dirty="0">
              <a:ea typeface="Roboto Light" panose="02000000000000000000" pitchFamily="2" charset="0"/>
            </a:endParaRPr>
          </a:p>
        </p:txBody>
      </p:sp>
      <p:sp>
        <p:nvSpPr>
          <p:cNvPr id="7" name="Content Placeholder 1">
            <a:extLst>
              <a:ext uri="{FF2B5EF4-FFF2-40B4-BE49-F238E27FC236}">
                <a16:creationId xmlns:a16="http://schemas.microsoft.com/office/drawing/2014/main" id="{BAB01AD1-ED53-7382-4030-6ED7115D090E}"/>
              </a:ext>
            </a:extLst>
          </p:cNvPr>
          <p:cNvSpPr txBox="1">
            <a:spLocks/>
          </p:cNvSpPr>
          <p:nvPr/>
        </p:nvSpPr>
        <p:spPr>
          <a:xfrm>
            <a:off x="605179" y="1402365"/>
            <a:ext cx="5149479" cy="4870450"/>
          </a:xfrm>
          <a:prstGeom prst="rect">
            <a:avLst/>
          </a:prstGeom>
          <a:noFill/>
        </p:spPr>
        <p:txBody>
          <a:bodyPr vert="horz" lIns="0" tIns="0" rIns="0" bIns="0" rtlCol="0" anchor="t">
            <a:norm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sz="1200" noProof="0" dirty="0"/>
          </a:p>
          <a:p>
            <a:pPr marL="198755" indent="-198755"/>
            <a:endParaRPr lang="en-GB" sz="1200" noProof="0" dirty="0">
              <a:ea typeface="Roboto Light"/>
              <a:cs typeface="Roboto Light"/>
            </a:endParaRPr>
          </a:p>
          <a:p>
            <a:pPr marL="198755" indent="-198755"/>
            <a:endParaRPr lang="en-GB" sz="1200" noProof="0" dirty="0">
              <a:ea typeface="Roboto Light"/>
              <a:cs typeface="Roboto Light"/>
            </a:endParaRPr>
          </a:p>
          <a:p>
            <a:pPr marL="198755" indent="-198755"/>
            <a:endParaRPr lang="en-GB" sz="1200" noProof="0" dirty="0">
              <a:ea typeface="Roboto Light"/>
              <a:cs typeface="Roboto Light"/>
            </a:endParaRPr>
          </a:p>
          <a:p>
            <a:pPr marL="0" indent="0">
              <a:buNone/>
            </a:pPr>
            <a:endParaRPr lang="en-GB" sz="1600" noProof="0" dirty="0"/>
          </a:p>
          <a:p>
            <a:pPr marL="0" indent="0">
              <a:buNone/>
            </a:pPr>
            <a:r>
              <a:rPr sz="1600" b="1"/>
              <a:t>Gama avanzada (MH35–85)</a:t>
            </a:r>
            <a:endParaRPr lang="en-GB" sz="1600" b="1" noProof="0" dirty="0">
              <a:solidFill>
                <a:schemeClr val="accent3"/>
              </a:solidFill>
              <a:ea typeface="Roboto Light"/>
              <a:cs typeface="Roboto Light"/>
            </a:endParaRPr>
          </a:p>
          <a:p>
            <a:pPr marL="0" indent="0">
              <a:buNone/>
            </a:pPr>
            <a:r>
              <a:rPr sz="1200" b="1"/>
              <a:t>Rendimiento avanzado con máxima disponibilidad</a:t>
            </a:r>
            <a:endParaRPr lang="en-GB" sz="1200" noProof="0" dirty="0"/>
          </a:p>
          <a:p>
            <a:pPr marL="198755" indent="-198755"/>
            <a:r>
              <a:rPr sz="1200"/>
              <a:t>Incorpora una caldera patentada de alta eficiencia energética que alcanza aproximadamente </a:t>
            </a:r>
            <a:r>
              <a:t>un </a:t>
            </a:r>
            <a:r>
              <a:rPr sz="1200"/>
              <a:t>96% de rendimiento.</a:t>
            </a:r>
            <a:endParaRPr lang="en-GB" sz="1200" noProof="0" dirty="0">
              <a:ea typeface="Roboto Light"/>
              <a:cs typeface="Roboto Light"/>
            </a:endParaRPr>
          </a:p>
          <a:p>
            <a:pPr marL="198755" indent="-198755"/>
            <a:r>
              <a:rPr sz="1200"/>
              <a:t>La lanza Tornado ajustable y el sistema interno de detergente aseguran una limpieza precisa y un menor desperdicio.</a:t>
            </a:r>
            <a:endParaRPr lang="en-GB" sz="1200" noProof="0" dirty="0">
              <a:ea typeface="Roboto Light"/>
              <a:cs typeface="Roboto Light"/>
            </a:endParaRPr>
          </a:p>
          <a:p>
            <a:pPr marL="198755" indent="-198755"/>
            <a:r>
              <a:rPr sz="1200"/>
              <a:t>Incluye sensores de combustible y de llama para un rendimiento óptimo</a:t>
            </a:r>
            <a:endParaRPr lang="en-GB" sz="1200" noProof="0" dirty="0">
              <a:ea typeface="Roboto Light"/>
              <a:cs typeface="Roboto Light"/>
            </a:endParaRPr>
          </a:p>
          <a:p>
            <a:pPr marL="198755" indent="-198755"/>
            <a:r>
              <a:rPr sz="1200"/>
              <a:t>Diseñado para usuarios profesionales que exigen el máximo tiempo de actividad y control.</a:t>
            </a:r>
          </a:p>
          <a:p>
            <a:pPr marL="198755" indent="-198755"/>
            <a:r>
              <a:rPr sz="1200"/>
              <a:t>Certificado por EUnited y compatible con biocombustibles para reducir las emisiones y lograr un funcionamiento más limpio.</a:t>
            </a:r>
            <a:endParaRPr lang="en-GB" sz="1200" noProof="0" dirty="0">
              <a:ea typeface="Roboto Light"/>
              <a:cs typeface="Roboto Light"/>
            </a:endParaRPr>
          </a:p>
          <a:p>
            <a:pPr marL="198755" indent="-198755"/>
            <a:endParaRPr lang="en-GB" sz="1200" noProof="0" dirty="0">
              <a:ea typeface="Roboto Light"/>
              <a:cs typeface="Roboto Light"/>
            </a:endParaRPr>
          </a:p>
          <a:p>
            <a:pPr marL="198755" indent="-198755">
              <a:buFont typeface="Wingdings" panose="05000000000000000000" pitchFamily="2" charset="2"/>
              <a:buChar char="ü"/>
            </a:pPr>
            <a:r>
              <a:rPr sz="1200"/>
              <a:t>Funcionamiento más inteligente con pantalla digital y diagnósticos</a:t>
            </a:r>
            <a:endParaRPr lang="en-GB" sz="1200" noProof="0" dirty="0">
              <a:ea typeface="Roboto Light"/>
              <a:cs typeface="Roboto Light"/>
            </a:endParaRPr>
          </a:p>
          <a:p>
            <a:pPr marL="198755" indent="-198755">
              <a:buFont typeface="Wingdings" panose="05000000000000000000" pitchFamily="2" charset="2"/>
              <a:buChar char="ü"/>
            </a:pPr>
            <a:r>
              <a:rPr sz="1200"/>
              <a:t>Diseñada para máxima disponibilidad y limpieza intensiva</a:t>
            </a:r>
            <a:endParaRPr lang="en-GB" sz="1200" noProof="0" dirty="0">
              <a:ea typeface="Roboto Light"/>
              <a:cs typeface="Roboto Light"/>
            </a:endParaRPr>
          </a:p>
          <a:p>
            <a:pPr marL="198755" indent="-198755">
              <a:buFont typeface="Wingdings" panose="05000000000000000000" pitchFamily="2" charset="2"/>
              <a:buChar char="ü"/>
            </a:pPr>
            <a:r>
              <a:rPr sz="1200"/>
              <a:t>Menor coste total de propiedad gracias al control avanzado y a una mayor eficiencia</a:t>
            </a:r>
            <a:endParaRPr lang="en-GB" sz="1200" noProof="0" dirty="0">
              <a:ea typeface="Roboto Light"/>
              <a:cs typeface="Roboto Light"/>
            </a:endParaRPr>
          </a:p>
          <a:p>
            <a:pPr marL="0" indent="0">
              <a:buFont typeface="Arial" panose="020B0604020202020204" pitchFamily="34" charset="0"/>
              <a:buNone/>
            </a:pPr>
            <a:endParaRPr lang="en-GB" sz="1200" b="1" noProof="0" dirty="0">
              <a:ea typeface="Roboto Light" panose="02000000000000000000" pitchFamily="2" charset="0"/>
            </a:endParaRPr>
          </a:p>
        </p:txBody>
      </p:sp>
    </p:spTree>
    <p:extLst>
      <p:ext uri="{BB962C8B-B14F-4D97-AF65-F5344CB8AC3E}">
        <p14:creationId xmlns:p14="http://schemas.microsoft.com/office/powerpoint/2010/main" val="108090598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B7E0895-CA40-036A-A70F-9A367AB8FDF9}"/>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5" name="Slide Number Placeholder 4">
            <a:extLst>
              <a:ext uri="{FF2B5EF4-FFF2-40B4-BE49-F238E27FC236}">
                <a16:creationId xmlns:a16="http://schemas.microsoft.com/office/drawing/2014/main" id="{5182AE44-825B-6F93-C4C7-DE4A62BBBF03}"/>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39</a:t>
            </a:fld>
            <a:endParaRPr lang="en-GB" noProof="0" dirty="0"/>
          </a:p>
        </p:txBody>
      </p:sp>
      <p:sp>
        <p:nvSpPr>
          <p:cNvPr id="3" name="Text Placeholder 2">
            <a:extLst>
              <a:ext uri="{FF2B5EF4-FFF2-40B4-BE49-F238E27FC236}">
                <a16:creationId xmlns:a16="http://schemas.microsoft.com/office/drawing/2014/main" id="{126917F8-B97D-6391-E0DA-06663538E17A}"/>
              </a:ext>
            </a:extLst>
          </p:cNvPr>
          <p:cNvSpPr>
            <a:spLocks noGrp="1"/>
          </p:cNvSpPr>
          <p:nvPr>
            <p:ph sz="quarter" idx="18"/>
          </p:nvPr>
        </p:nvSpPr>
        <p:spPr>
          <a:xfrm>
            <a:off x="1663700" y="1419951"/>
            <a:ext cx="4265050" cy="3526699"/>
          </a:xfrm>
          <a:effectLst/>
        </p:spPr>
        <p:txBody>
          <a:bodyPr lIns="0" tIns="0" rIns="0" bIns="0">
            <a:normAutofit lnSpcReduction="10000"/>
          </a:bodyPr>
          <a:lstStyle/>
          <a:p>
            <a:pPr marL="0" indent="0">
              <a:buNone/>
            </a:pPr>
            <a:r>
              <a:rPr b="1">
                <a:latin typeface="+mj-lt"/>
              </a:rPr>
              <a:t>Rendimiento</a:t>
            </a:r>
          </a:p>
          <a:p>
            <a:pPr marL="180000" lvl="1" indent="-180000">
              <a:buFont typeface="Arial" panose="020B0604020202020204" pitchFamily="34" charset="0"/>
              <a:buChar char="•"/>
            </a:pPr>
            <a:r>
              <a:t>Tecnología de caldera líder en la industria con una eficiencia de hasta el 96%</a:t>
            </a:r>
          </a:p>
          <a:p>
            <a:pPr marL="180000" lvl="1" indent="-180000">
              <a:buFont typeface="Arial" panose="020B0604020202020204" pitchFamily="34" charset="0"/>
              <a:buChar char="•"/>
            </a:pPr>
            <a:r>
              <a:t>Bombas líderes en su categoría y boquillas de alta eficiencia</a:t>
            </a:r>
          </a:p>
          <a:p>
            <a:pPr marL="0" indent="0">
              <a:buNone/>
            </a:pPr>
            <a:endParaRPr lang="en-GB" b="1" noProof="0" dirty="0"/>
          </a:p>
          <a:p>
            <a:pPr marL="0" indent="0">
              <a:buNone/>
            </a:pPr>
            <a:r>
              <a:rPr b="1">
                <a:latin typeface="+mj-lt"/>
              </a:rPr>
              <a:t>Control</a:t>
            </a:r>
          </a:p>
          <a:p>
            <a:pPr marL="180000" lvl="1" indent="-180000">
              <a:buFont typeface="Arial" panose="020B0604020202020204" pitchFamily="34" charset="0"/>
              <a:buChar char="•"/>
            </a:pPr>
            <a:r>
              <a:t>Configure la máquina con los ajustes de limpieza preferidos.</a:t>
            </a:r>
          </a:p>
          <a:p>
            <a:pPr marL="180000" lvl="1" indent="-180000">
              <a:buFont typeface="Arial" panose="020B0604020202020204" pitchFamily="34" charset="0"/>
              <a:buChar char="•"/>
            </a:pPr>
            <a:r>
              <a:t>Ajustes con bloqueo</a:t>
            </a:r>
          </a:p>
          <a:p>
            <a:pPr marL="0" indent="0">
              <a:buNone/>
            </a:pPr>
            <a:endParaRPr lang="en-GB" b="1" noProof="0" dirty="0"/>
          </a:p>
          <a:p>
            <a:pPr marL="0" indent="0">
              <a:buNone/>
            </a:pPr>
            <a:r>
              <a:rPr b="1">
                <a:latin typeface="+mj-lt"/>
              </a:rPr>
              <a:t>Sostenibilidad</a:t>
            </a:r>
          </a:p>
          <a:p>
            <a:pPr marL="180000" lvl="1" indent="-180000">
              <a:buFont typeface="Arial" panose="020B0604020202020204" pitchFamily="34" charset="0"/>
              <a:buChar char="•"/>
            </a:pPr>
            <a:r>
              <a:t>Compatible con biocombustibles</a:t>
            </a:r>
          </a:p>
          <a:p>
            <a:pPr marL="180000" lvl="1" indent="-180000">
              <a:buFont typeface="Arial" panose="020B0604020202020204" pitchFamily="34" charset="0"/>
              <a:buChar char="•"/>
            </a:pPr>
            <a:r>
              <a:t>Eficiencia de combustible</a:t>
            </a:r>
          </a:p>
          <a:p>
            <a:pPr marL="180000" lvl="1" indent="-180000">
              <a:buFont typeface="Arial" panose="020B0604020202020204" pitchFamily="34" charset="0"/>
              <a:buChar char="•"/>
            </a:pPr>
            <a:r>
              <a:t>Dosificación precisa de detergente</a:t>
            </a:r>
          </a:p>
        </p:txBody>
      </p:sp>
      <p:sp>
        <p:nvSpPr>
          <p:cNvPr id="13" name="Text Placeholder 5">
            <a:extLst>
              <a:ext uri="{FF2B5EF4-FFF2-40B4-BE49-F238E27FC236}">
                <a16:creationId xmlns:a16="http://schemas.microsoft.com/office/drawing/2014/main" id="{06FC5C2E-8346-A7B0-43ED-B58E2ABF00E7}"/>
              </a:ext>
            </a:extLst>
          </p:cNvPr>
          <p:cNvSpPr>
            <a:spLocks noGrp="1"/>
          </p:cNvSpPr>
          <p:nvPr>
            <p:ph type="body" sz="quarter" idx="14"/>
          </p:nvPr>
        </p:nvSpPr>
        <p:spPr>
          <a:xfrm>
            <a:off x="475521" y="873877"/>
            <a:ext cx="11235102" cy="376456"/>
          </a:xfrm>
        </p:spPr>
        <p:txBody>
          <a:bodyPr/>
          <a:lstStyle/>
          <a:p>
            <a:r>
              <a:t>MH35-85</a:t>
            </a:r>
          </a:p>
        </p:txBody>
      </p:sp>
      <p:sp>
        <p:nvSpPr>
          <p:cNvPr id="7" name="Title 6">
            <a:extLst>
              <a:ext uri="{FF2B5EF4-FFF2-40B4-BE49-F238E27FC236}">
                <a16:creationId xmlns:a16="http://schemas.microsoft.com/office/drawing/2014/main" id="{B20A6CF9-A546-8F89-007B-AB5B30F399E1}"/>
              </a:ext>
            </a:extLst>
          </p:cNvPr>
          <p:cNvSpPr>
            <a:spLocks noGrp="1"/>
          </p:cNvSpPr>
          <p:nvPr>
            <p:ph type="title"/>
          </p:nvPr>
        </p:nvSpPr>
        <p:spPr>
          <a:xfrm>
            <a:off x="479425" y="494490"/>
            <a:ext cx="11233150" cy="388013"/>
          </a:xfrm>
        </p:spPr>
        <p:txBody>
          <a:bodyPr anchor="t">
            <a:noAutofit/>
          </a:bodyPr>
          <a:lstStyle/>
          <a:p>
            <a:r>
              <a:t>Ventajas clave del producto</a:t>
            </a:r>
          </a:p>
        </p:txBody>
      </p:sp>
      <p:pic>
        <p:nvPicPr>
          <p:cNvPr id="8" name="Picture 7">
            <a:extLst>
              <a:ext uri="{FF2B5EF4-FFF2-40B4-BE49-F238E27FC236}">
                <a16:creationId xmlns:a16="http://schemas.microsoft.com/office/drawing/2014/main" id="{128C2B62-B7CF-6F1E-325D-834FBFCFA323}"/>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6200775" y="0"/>
            <a:ext cx="5991225" cy="6283325"/>
          </a:xfrm>
          <a:prstGeom prst="rect">
            <a:avLst/>
          </a:prstGeom>
        </p:spPr>
      </p:pic>
      <p:pic>
        <p:nvPicPr>
          <p:cNvPr id="9" name="Graphic 8">
            <a:extLst>
              <a:ext uri="{FF2B5EF4-FFF2-40B4-BE49-F238E27FC236}">
                <a16:creationId xmlns:a16="http://schemas.microsoft.com/office/drawing/2014/main" id="{964E10CC-74BA-ECCF-4589-DB8A6A691B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5521" y="1441515"/>
            <a:ext cx="847574" cy="475468"/>
          </a:xfrm>
          <a:prstGeom prst="rect">
            <a:avLst/>
          </a:prstGeom>
        </p:spPr>
      </p:pic>
      <p:pic>
        <p:nvPicPr>
          <p:cNvPr id="10" name="Graphic 9">
            <a:extLst>
              <a:ext uri="{FF2B5EF4-FFF2-40B4-BE49-F238E27FC236}">
                <a16:creationId xmlns:a16="http://schemas.microsoft.com/office/drawing/2014/main" id="{5D1B5076-60B1-F419-66B6-5C5BD82385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9447" y="3683442"/>
            <a:ext cx="682898" cy="682898"/>
          </a:xfrm>
          <a:prstGeom prst="rect">
            <a:avLst/>
          </a:prstGeom>
        </p:spPr>
      </p:pic>
      <p:pic>
        <p:nvPicPr>
          <p:cNvPr id="12" name="Graphic 11">
            <a:extLst>
              <a:ext uri="{FF2B5EF4-FFF2-40B4-BE49-F238E27FC236}">
                <a16:creationId xmlns:a16="http://schemas.microsoft.com/office/drawing/2014/main" id="{A177B03E-4E9D-14A5-78DE-6EC0E69BF9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5760" y="2697791"/>
            <a:ext cx="716585" cy="731209"/>
          </a:xfrm>
          <a:prstGeom prst="rect">
            <a:avLst/>
          </a:prstGeom>
        </p:spPr>
      </p:pic>
    </p:spTree>
    <p:extLst>
      <p:ext uri="{BB962C8B-B14F-4D97-AF65-F5344CB8AC3E}">
        <p14:creationId xmlns:p14="http://schemas.microsoft.com/office/powerpoint/2010/main" val="38114883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342B61-BCB7-D89E-E8A6-853CB34B3D75}"/>
              </a:ext>
            </a:extLst>
          </p:cNvPr>
          <p:cNvSpPr>
            <a:spLocks noGrp="1"/>
          </p:cNvSpPr>
          <p:nvPr>
            <p:ph type="ftr" sz="quarter" idx="21"/>
          </p:nvPr>
        </p:nvSpPr>
        <p:spPr>
          <a:xfrm>
            <a:off x="920896" y="6529068"/>
            <a:ext cx="2087655" cy="153888"/>
          </a:xfrm>
        </p:spPr>
        <p:txBody>
          <a:bodyPr wrap="square" anchor="ctr">
            <a:normAutofit fontScale="70000" lnSpcReduction="20000"/>
          </a:bodyPr>
          <a:lstStyle/>
          <a:p>
            <a:pPr algn="l">
              <a:spcAft>
                <a:spcPts val="600"/>
              </a:spcAft>
            </a:pPr>
            <a:r>
              <a:t>INFORMACIÓN CONFIDENCIAL DE LA EMPRESA</a:t>
            </a:r>
          </a:p>
        </p:txBody>
      </p:sp>
      <p:sp>
        <p:nvSpPr>
          <p:cNvPr id="5" name="Slide Number Placeholder 4">
            <a:extLst>
              <a:ext uri="{FF2B5EF4-FFF2-40B4-BE49-F238E27FC236}">
                <a16:creationId xmlns:a16="http://schemas.microsoft.com/office/drawing/2014/main" id="{D910D15D-859F-25B6-9A34-4C0DB5A4049E}"/>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GB" noProof="0" smtClean="0"/>
              <a:pPr>
                <a:spcAft>
                  <a:spcPts val="600"/>
                </a:spcAft>
              </a:pPr>
              <a:t>4</a:t>
            </a:fld>
            <a:endParaRPr lang="en-GB" noProof="0" dirty="0"/>
          </a:p>
        </p:txBody>
      </p:sp>
      <p:sp>
        <p:nvSpPr>
          <p:cNvPr id="6" name="Text Placeholder 5">
            <a:extLst>
              <a:ext uri="{FF2B5EF4-FFF2-40B4-BE49-F238E27FC236}">
                <a16:creationId xmlns:a16="http://schemas.microsoft.com/office/drawing/2014/main" id="{180A98F6-D27E-D01E-FD68-66D2ACA89342}"/>
              </a:ext>
            </a:extLst>
          </p:cNvPr>
          <p:cNvSpPr>
            <a:spLocks noGrp="1"/>
          </p:cNvSpPr>
          <p:nvPr>
            <p:ph type="body" sz="quarter" idx="14"/>
          </p:nvPr>
        </p:nvSpPr>
        <p:spPr>
          <a:xfrm>
            <a:off x="475521" y="873877"/>
            <a:ext cx="5507038" cy="376456"/>
          </a:xfrm>
        </p:spPr>
        <p:txBody>
          <a:bodyPr>
            <a:normAutofit/>
          </a:bodyPr>
          <a:lstStyle/>
          <a:p>
            <a:r>
              <a:t>Nueva Gama MH</a:t>
            </a:r>
          </a:p>
        </p:txBody>
      </p:sp>
      <p:sp>
        <p:nvSpPr>
          <p:cNvPr id="7" name="Title 6">
            <a:extLst>
              <a:ext uri="{FF2B5EF4-FFF2-40B4-BE49-F238E27FC236}">
                <a16:creationId xmlns:a16="http://schemas.microsoft.com/office/drawing/2014/main" id="{68B90BBB-48BC-BCE5-E227-0A6DF1A130D1}"/>
              </a:ext>
            </a:extLst>
          </p:cNvPr>
          <p:cNvSpPr>
            <a:spLocks noGrp="1"/>
          </p:cNvSpPr>
          <p:nvPr>
            <p:ph type="title"/>
          </p:nvPr>
        </p:nvSpPr>
        <p:spPr>
          <a:xfrm>
            <a:off x="479425" y="494490"/>
            <a:ext cx="5506081" cy="388013"/>
          </a:xfrm>
        </p:spPr>
        <p:txBody>
          <a:bodyPr anchor="t">
            <a:noAutofit/>
          </a:bodyPr>
          <a:lstStyle/>
          <a:p>
            <a:r>
              <a:t>Propuesta de valor</a:t>
            </a:r>
          </a:p>
        </p:txBody>
      </p:sp>
      <p:sp>
        <p:nvSpPr>
          <p:cNvPr id="11" name="Text Placeholder 14">
            <a:extLst>
              <a:ext uri="{FF2B5EF4-FFF2-40B4-BE49-F238E27FC236}">
                <a16:creationId xmlns:a16="http://schemas.microsoft.com/office/drawing/2014/main" id="{1B3E529D-20E8-DDCA-7758-9A2AD5DA819A}"/>
              </a:ext>
            </a:extLst>
          </p:cNvPr>
          <p:cNvSpPr txBox="1">
            <a:spLocks/>
          </p:cNvSpPr>
          <p:nvPr/>
        </p:nvSpPr>
        <p:spPr>
          <a:xfrm>
            <a:off x="404010" y="2350196"/>
            <a:ext cx="3638865" cy="1581551"/>
          </a:xfrm>
          <a:prstGeom prst="rect">
            <a:avLst/>
          </a:prstGeom>
          <a:noFill/>
        </p:spPr>
        <p:txBody>
          <a:bodyPr vert="horz"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336"/>
              </a:spcBef>
              <a:buNone/>
            </a:pPr>
            <a:r>
              <a:rPr sz="1200"/>
              <a:t>El éxito de nuestros clientes es el centro de nuestras soluciones.</a:t>
            </a:r>
            <a:endParaRPr lang="en-GB" sz="1200" noProof="0" dirty="0">
              <a:ea typeface="Roboto Light"/>
              <a:cs typeface="Roboto Light"/>
            </a:endParaRPr>
          </a:p>
          <a:p>
            <a:pPr marL="0" indent="0" algn="ctr">
              <a:lnSpc>
                <a:spcPct val="120000"/>
              </a:lnSpc>
              <a:spcBef>
                <a:spcPts val="336"/>
              </a:spcBef>
              <a:buNone/>
            </a:pPr>
            <a:endParaRPr lang="en-GB" sz="1200" noProof="0" dirty="0">
              <a:ea typeface="Roboto Light"/>
              <a:cs typeface="Roboto Light"/>
            </a:endParaRPr>
          </a:p>
          <a:p>
            <a:pPr marL="0" indent="0" algn="ctr">
              <a:lnSpc>
                <a:spcPct val="150000"/>
              </a:lnSpc>
              <a:buNone/>
            </a:pPr>
            <a:r>
              <a:rPr sz="1200"/>
              <a:t>Nuestras versátiles hidrolimpiadoras de alta presión con agua caliente y tecnología de caldera compatible con biocombustible están optimizadas para ofrecer la máxima rentabilidad en las tareas de limpieza más exigentes, ayudando a los operadores a trabajar con la máxima eficiencia para que su equipo prospere y su negocio alcance el éxito.</a:t>
            </a:r>
            <a:endParaRPr lang="en-GB" sz="1200" noProof="0" dirty="0">
              <a:ea typeface="Roboto Light"/>
              <a:cs typeface="Roboto Light"/>
            </a:endParaRPr>
          </a:p>
        </p:txBody>
      </p:sp>
      <p:pic>
        <p:nvPicPr>
          <p:cNvPr id="12" name="Picture 11">
            <a:extLst>
              <a:ext uri="{FF2B5EF4-FFF2-40B4-BE49-F238E27FC236}">
                <a16:creationId xmlns:a16="http://schemas.microsoft.com/office/drawing/2014/main" id="{8128DF8E-4B06-9D89-D0B8-2D903854C9D4}"/>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252913" y="0"/>
            <a:ext cx="7939087" cy="6284890"/>
          </a:xfrm>
          <a:prstGeom prst="rect">
            <a:avLst/>
          </a:prstGeom>
        </p:spPr>
      </p:pic>
    </p:spTree>
    <p:extLst>
      <p:ext uri="{BB962C8B-B14F-4D97-AF65-F5344CB8AC3E}">
        <p14:creationId xmlns:p14="http://schemas.microsoft.com/office/powerpoint/2010/main" val="26700745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r>
              <a:rPr dirty="0"/>
              <a:t>9</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r>
              <a:t>Especificaciones técnicas</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fld id="{6C385236-B7BA-4938-9EA6-6DEC8CA653D7}" type="slidenum">
              <a:rPr lang="en-GB" noProof="0" smtClean="0"/>
              <a:pPr/>
              <a:t>40</a:t>
            </a:fld>
            <a:endParaRPr lang="en-GB" noProof="0" dirty="0"/>
          </a:p>
        </p:txBody>
      </p:sp>
    </p:spTree>
    <p:extLst>
      <p:ext uri="{BB962C8B-B14F-4D97-AF65-F5344CB8AC3E}">
        <p14:creationId xmlns:p14="http://schemas.microsoft.com/office/powerpoint/2010/main" val="103861717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F8C57-08EE-7130-449D-8E7CF0F3DDA7}"/>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9DF5BF84-D519-4B06-9718-401E557F5E63}"/>
              </a:ext>
            </a:extLst>
          </p:cNvPr>
          <p:cNvSpPr>
            <a:spLocks noGrp="1"/>
          </p:cNvSpPr>
          <p:nvPr>
            <p:ph type="body" sz="quarter" idx="14"/>
          </p:nvPr>
        </p:nvSpPr>
        <p:spPr/>
        <p:txBody>
          <a:bodyPr/>
          <a:lstStyle/>
          <a:p>
            <a:r>
              <a:t>Modelos de gama avanzada: especificaciones técnicas.</a:t>
            </a:r>
          </a:p>
        </p:txBody>
      </p:sp>
      <p:sp>
        <p:nvSpPr>
          <p:cNvPr id="4" name="Titel 3">
            <a:extLst>
              <a:ext uri="{FF2B5EF4-FFF2-40B4-BE49-F238E27FC236}">
                <a16:creationId xmlns:a16="http://schemas.microsoft.com/office/drawing/2014/main" id="{12327CFB-59AB-4CDB-B523-AB56645EB496}"/>
              </a:ext>
            </a:extLst>
          </p:cNvPr>
          <p:cNvSpPr>
            <a:spLocks noGrp="1"/>
          </p:cNvSpPr>
          <p:nvPr>
            <p:ph type="title"/>
          </p:nvPr>
        </p:nvSpPr>
        <p:spPr/>
        <p:txBody>
          <a:bodyPr/>
          <a:lstStyle/>
          <a:p>
            <a:r>
              <a:t>MH35</a:t>
            </a:r>
          </a:p>
        </p:txBody>
      </p:sp>
      <p:sp>
        <p:nvSpPr>
          <p:cNvPr id="5" name="Pladsholder til sidefod 4">
            <a:extLst>
              <a:ext uri="{FF2B5EF4-FFF2-40B4-BE49-F238E27FC236}">
                <a16:creationId xmlns:a16="http://schemas.microsoft.com/office/drawing/2014/main" id="{5C0B466D-E7FF-E61B-D5CD-C6D29A595BAD}"/>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79A041E5-1E8F-9132-F7FC-45F1FF3C2948}"/>
              </a:ext>
            </a:extLst>
          </p:cNvPr>
          <p:cNvSpPr>
            <a:spLocks noGrp="1"/>
          </p:cNvSpPr>
          <p:nvPr>
            <p:ph type="sldNum" sz="quarter" idx="17"/>
          </p:nvPr>
        </p:nvSpPr>
        <p:spPr/>
        <p:txBody>
          <a:bodyPr/>
          <a:lstStyle/>
          <a:p>
            <a:fld id="{6C385236-B7BA-4938-9EA6-6DEC8CA653D7}" type="slidenum">
              <a:rPr lang="en-GB" noProof="0" smtClean="0"/>
              <a:pPr/>
              <a:t>41</a:t>
            </a:fld>
            <a:endParaRPr lang="en-GB" noProof="0" dirty="0"/>
          </a:p>
        </p:txBody>
      </p:sp>
      <p:graphicFrame>
        <p:nvGraphicFramePr>
          <p:cNvPr id="9" name="Pladsholder til indhold 8">
            <a:extLst>
              <a:ext uri="{FF2B5EF4-FFF2-40B4-BE49-F238E27FC236}">
                <a16:creationId xmlns:a16="http://schemas.microsoft.com/office/drawing/2014/main" id="{AAF437A8-891B-571E-4D26-EB672C41CB3D}"/>
              </a:ext>
            </a:extLst>
          </p:cNvPr>
          <p:cNvGraphicFramePr>
            <a:graphicFrameLocks noGrp="1"/>
          </p:cNvGraphicFramePr>
          <p:nvPr>
            <p:ph sz="quarter" idx="13"/>
            <p:extLst>
              <p:ext uri="{D42A27DB-BD31-4B8C-83A1-F6EECF244321}">
                <p14:modId xmlns:p14="http://schemas.microsoft.com/office/powerpoint/2010/main" val="2645687129"/>
              </p:ext>
            </p:extLst>
          </p:nvPr>
        </p:nvGraphicFramePr>
        <p:xfrm>
          <a:off x="400766" y="1212541"/>
          <a:ext cx="11309857" cy="5054555"/>
        </p:xfrm>
        <a:graphic>
          <a:graphicData uri="http://schemas.openxmlformats.org/drawingml/2006/table">
            <a:tbl>
              <a:tblPr>
                <a:tableStyleId>{2D5ABB26-0587-4C30-8999-92F81FD0307C}</a:tableStyleId>
              </a:tblPr>
              <a:tblGrid>
                <a:gridCol w="2553116">
                  <a:extLst>
                    <a:ext uri="{9D8B030D-6E8A-4147-A177-3AD203B41FA5}">
                      <a16:colId xmlns:a16="http://schemas.microsoft.com/office/drawing/2014/main" val="2183510017"/>
                    </a:ext>
                  </a:extLst>
                </a:gridCol>
                <a:gridCol w="761456">
                  <a:extLst>
                    <a:ext uri="{9D8B030D-6E8A-4147-A177-3AD203B41FA5}">
                      <a16:colId xmlns:a16="http://schemas.microsoft.com/office/drawing/2014/main" val="933127575"/>
                    </a:ext>
                  </a:extLst>
                </a:gridCol>
                <a:gridCol w="2665095">
                  <a:extLst>
                    <a:ext uri="{9D8B030D-6E8A-4147-A177-3AD203B41FA5}">
                      <a16:colId xmlns:a16="http://schemas.microsoft.com/office/drawing/2014/main" val="2584571107"/>
                    </a:ext>
                  </a:extLst>
                </a:gridCol>
                <a:gridCol w="2665095">
                  <a:extLst>
                    <a:ext uri="{9D8B030D-6E8A-4147-A177-3AD203B41FA5}">
                      <a16:colId xmlns:a16="http://schemas.microsoft.com/office/drawing/2014/main" val="2524797807"/>
                    </a:ext>
                  </a:extLst>
                </a:gridCol>
                <a:gridCol w="2665095">
                  <a:extLst>
                    <a:ext uri="{9D8B030D-6E8A-4147-A177-3AD203B41FA5}">
                      <a16:colId xmlns:a16="http://schemas.microsoft.com/office/drawing/2014/main" val="1956460252"/>
                    </a:ext>
                  </a:extLst>
                </a:gridCol>
              </a:tblGrid>
              <a:tr h="344621">
                <a:tc>
                  <a:txBody>
                    <a:bodyPr/>
                    <a:lstStyle/>
                    <a:p>
                      <a:pPr algn="l" fontAlgn="b">
                        <a:buNone/>
                      </a:pPr>
                      <a:r>
                        <a:rPr sz="900" b="1" u="none">
                          <a:latin typeface="+mj-lt"/>
                        </a:rPr>
                        <a:t>Modelo</a:t>
                      </a:r>
                      <a:endParaRPr lang="en-GB"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fontAlgn="b">
                        <a:buNone/>
                      </a:pPr>
                      <a:r>
                        <a:rPr lang="en-GB" sz="900" b="1" u="none" strike="noStrike" noProof="0" dirty="0">
                          <a:solidFill>
                            <a:schemeClr val="tx1"/>
                          </a:solidFill>
                          <a:effectLst/>
                          <a:latin typeface="+mj-lt"/>
                        </a:rPr>
                        <a:t> </a:t>
                      </a:r>
                      <a:endParaRPr lang="en-GB"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35C-180/780 PAX 400/3/50 EU</a:t>
                      </a:r>
                      <a:endParaRPr lang="en-GB"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35C-145/600 PA 230/1/50 UE</a:t>
                      </a:r>
                      <a:endParaRPr lang="en-GB"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35C-145/600 PAX 230/1/50 EU</a:t>
                      </a:r>
                      <a:endParaRPr lang="en-GB"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fontAlgn="b">
                        <a:buNone/>
                      </a:pPr>
                      <a:r>
                        <a:rPr sz="900" b="0" u="none">
                          <a:latin typeface="+mn-lt"/>
                        </a:rPr>
                        <a:t>Número de artícul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5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0714715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fontAlgn="b">
                        <a:buNone/>
                      </a:pPr>
                      <a:r>
                        <a:rPr sz="900" b="0" u="none">
                          <a:latin typeface="+mn-lt"/>
                        </a:rPr>
                        <a:t>Tensión de alimenta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V/fase/Hz</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30 V / 1~ / 50 Hz</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230 V / 1~ / 50 Hz</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fontAlgn="b">
                        <a:buNone/>
                      </a:pPr>
                      <a:r>
                        <a:rPr sz="900" b="0" u="none">
                          <a:latin typeface="+mn-lt"/>
                        </a:rPr>
                        <a:t>Fus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fontAlgn="b">
                        <a:buNone/>
                      </a:pPr>
                      <a:r>
                        <a:rPr sz="900" b="0" u="none">
                          <a:latin typeface="+mn-lt"/>
                        </a:rPr>
                        <a:t>Potencia nomin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7</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7</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fontAlgn="b">
                        <a:buNone/>
                      </a:pPr>
                      <a:r>
                        <a:rPr sz="900" b="0" u="none">
                          <a:latin typeface="+mn-lt"/>
                        </a:rPr>
                        <a:t>Presión de trabaj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8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4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4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fontAlgn="b">
                        <a:buNone/>
                      </a:pPr>
                      <a:r>
                        <a:rPr sz="900" b="0" u="none">
                          <a:latin typeface="+mn-lt"/>
                        </a:rPr>
                        <a:t>Caudal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3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3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fontAlgn="b">
                        <a:buNone/>
                      </a:pPr>
                      <a:r>
                        <a:rPr sz="900" b="0" u="none">
                          <a:latin typeface="+mn-lt"/>
                        </a:rPr>
                        <a:t>Caudal máximo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8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0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0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fontAlgn="b">
                        <a:buNone/>
                      </a:pPr>
                      <a:r>
                        <a:rPr sz="900" b="0" u="none">
                          <a:latin typeface="+mn-lt"/>
                        </a:rPr>
                        <a:t>Temperatura máxima del agua de entrad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fontAlgn="b">
                        <a:buNone/>
                      </a:pPr>
                      <a:r>
                        <a:rPr sz="900" b="0" u="none">
                          <a:latin typeface="+mn-lt"/>
                        </a:rPr>
                        <a:t>Presión máx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fontAlgn="b">
                        <a:buNone/>
                      </a:pPr>
                      <a:r>
                        <a:rPr sz="900" b="0" u="none">
                          <a:latin typeface="+mn-lt"/>
                        </a:rPr>
                        <a:t>Presión mín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fontAlgn="b">
                        <a:buNone/>
                      </a:pPr>
                      <a:r>
                        <a:rPr sz="900" b="0" u="none">
                          <a:latin typeface="+mn-lt"/>
                        </a:rPr>
                        <a:t>Dimensiones del embalaje (LxAnx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mm</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fontAlgn="b">
                        <a:buNone/>
                      </a:pPr>
                      <a:r>
                        <a:rPr sz="900" b="0" u="none">
                          <a:latin typeface="+mn-lt"/>
                        </a:rPr>
                        <a:t>Pes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42</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3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38</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fontAlgn="b">
                        <a:buNone/>
                      </a:pPr>
                      <a:r>
                        <a:rPr sz="900" b="0" u="none">
                          <a:latin typeface="+mn-lt"/>
                        </a:rPr>
                        <a:t>Nivel de presión sonora LP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fontAlgn="b">
                        <a:buNone/>
                      </a:pPr>
                      <a:r>
                        <a:rPr sz="900" b="0" u="none">
                          <a:latin typeface="+mn-lt"/>
                        </a:rPr>
                        <a:t>Nivel de potencia sonora LW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2</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9</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9</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fontAlgn="b">
                        <a:buNone/>
                      </a:pPr>
                      <a:r>
                        <a:rPr sz="900" b="0" u="none">
                          <a:latin typeface="+mn-lt"/>
                        </a:rPr>
                        <a:t>Impacto de limpiez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2</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9</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9</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fontAlgn="b">
                        <a:buNone/>
                      </a:pPr>
                      <a:r>
                        <a:rPr sz="900" b="0" u="none">
                          <a:latin typeface="+mn-lt"/>
                        </a:rPr>
                        <a:t>Tamaño de la boquill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40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34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34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fontAlgn="b">
                        <a:buNone/>
                      </a:pPr>
                      <a:r>
                        <a:rPr sz="900" b="0" u="none">
                          <a:latin typeface="+mn-lt"/>
                        </a:rPr>
                        <a:t>Temperatura máxima del agua (caliente / vapor)</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fontAlgn="b">
                        <a:buNone/>
                      </a:pPr>
                      <a:r>
                        <a:rPr sz="900" b="0" u="none">
                          <a:latin typeface="+mn-lt"/>
                        </a:rPr>
                        <a:t>Consumo de combustible con un aumento de temperatura de 45 °C</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3</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fontAlgn="b">
                        <a:buNone/>
                      </a:pPr>
                      <a:r>
                        <a:rPr sz="900" b="0" u="none">
                          <a:latin typeface="+mn-lt"/>
                        </a:rPr>
                        <a:t>Capacidad de calefac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1</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fontAlgn="b">
                        <a:buNone/>
                      </a:pPr>
                      <a:r>
                        <a:rPr sz="900" b="0" u="none">
                          <a:latin typeface="+mn-lt"/>
                        </a:rPr>
                        <a:t>Depósito de combust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fontAlgn="b">
                        <a:buNone/>
                      </a:pPr>
                      <a:r>
                        <a:rPr sz="900" b="0" u="none">
                          <a:latin typeface="+mn-lt"/>
                        </a:rPr>
                        <a:t>Tipo de combustible de la calder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fontAlgn="b">
                        <a:buNone/>
                      </a:pPr>
                      <a:r>
                        <a:rPr sz="900" b="0" u="none">
                          <a:latin typeface="+mn-lt"/>
                        </a:rPr>
                        <a:t>Depósito de detergent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x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x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x10</a:t>
                      </a:r>
                      <a:endParaRPr lang="en-GB"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39273400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BB6DC-9C06-F9E2-F5F0-0A8851C2477D}"/>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2BF21C82-4B46-3F58-0D80-17C3880FA732}"/>
              </a:ext>
            </a:extLst>
          </p:cNvPr>
          <p:cNvSpPr>
            <a:spLocks noGrp="1"/>
          </p:cNvSpPr>
          <p:nvPr>
            <p:ph type="body" sz="quarter" idx="14"/>
          </p:nvPr>
        </p:nvSpPr>
        <p:spPr/>
        <p:txBody>
          <a:bodyPr/>
          <a:lstStyle/>
          <a:p>
            <a:r>
              <a:t>Modelos de la gama avanzada: especificaciones técnicas.</a:t>
            </a:r>
          </a:p>
        </p:txBody>
      </p:sp>
      <p:sp>
        <p:nvSpPr>
          <p:cNvPr id="4" name="Titel 3">
            <a:extLst>
              <a:ext uri="{FF2B5EF4-FFF2-40B4-BE49-F238E27FC236}">
                <a16:creationId xmlns:a16="http://schemas.microsoft.com/office/drawing/2014/main" id="{3EDF3DFA-B791-47D8-758C-20B843A782BD}"/>
              </a:ext>
            </a:extLst>
          </p:cNvPr>
          <p:cNvSpPr>
            <a:spLocks noGrp="1"/>
          </p:cNvSpPr>
          <p:nvPr>
            <p:ph type="title"/>
          </p:nvPr>
        </p:nvSpPr>
        <p:spPr/>
        <p:txBody>
          <a:bodyPr/>
          <a:lstStyle/>
          <a:p>
            <a:r>
              <a:t>MH45</a:t>
            </a:r>
          </a:p>
        </p:txBody>
      </p:sp>
      <p:sp>
        <p:nvSpPr>
          <p:cNvPr id="5" name="Pladsholder til sidefod 4">
            <a:extLst>
              <a:ext uri="{FF2B5EF4-FFF2-40B4-BE49-F238E27FC236}">
                <a16:creationId xmlns:a16="http://schemas.microsoft.com/office/drawing/2014/main" id="{CC840DC7-1CA5-C5D8-DA07-1CBAD0B7E2FA}"/>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34EAEC5A-0AA6-803B-D09C-B909333AD5B5}"/>
              </a:ext>
            </a:extLst>
          </p:cNvPr>
          <p:cNvSpPr>
            <a:spLocks noGrp="1"/>
          </p:cNvSpPr>
          <p:nvPr>
            <p:ph type="sldNum" sz="quarter" idx="17"/>
          </p:nvPr>
        </p:nvSpPr>
        <p:spPr/>
        <p:txBody>
          <a:bodyPr/>
          <a:lstStyle/>
          <a:p>
            <a:fld id="{6C385236-B7BA-4938-9EA6-6DEC8CA653D7}" type="slidenum">
              <a:rPr lang="en-GB" noProof="0" smtClean="0"/>
              <a:pPr/>
              <a:t>42</a:t>
            </a:fld>
            <a:endParaRPr lang="en-GB" noProof="0" dirty="0"/>
          </a:p>
        </p:txBody>
      </p:sp>
      <p:graphicFrame>
        <p:nvGraphicFramePr>
          <p:cNvPr id="9" name="Pladsholder til indhold 8">
            <a:extLst>
              <a:ext uri="{FF2B5EF4-FFF2-40B4-BE49-F238E27FC236}">
                <a16:creationId xmlns:a16="http://schemas.microsoft.com/office/drawing/2014/main" id="{7EEF4A17-D486-7955-22FA-2A88814F956A}"/>
              </a:ext>
            </a:extLst>
          </p:cNvPr>
          <p:cNvGraphicFramePr>
            <a:graphicFrameLocks noGrp="1"/>
          </p:cNvGraphicFramePr>
          <p:nvPr>
            <p:ph sz="quarter" idx="13"/>
            <p:extLst>
              <p:ext uri="{D42A27DB-BD31-4B8C-83A1-F6EECF244321}">
                <p14:modId xmlns:p14="http://schemas.microsoft.com/office/powerpoint/2010/main" val="42939547"/>
              </p:ext>
            </p:extLst>
          </p:nvPr>
        </p:nvGraphicFramePr>
        <p:xfrm>
          <a:off x="479423" y="1350236"/>
          <a:ext cx="10855326" cy="4946141"/>
        </p:xfrm>
        <a:graphic>
          <a:graphicData uri="http://schemas.openxmlformats.org/drawingml/2006/table">
            <a:tbl>
              <a:tblPr>
                <a:tableStyleId>{2D5ABB26-0587-4C30-8999-92F81FD0307C}</a:tableStyleId>
              </a:tblPr>
              <a:tblGrid>
                <a:gridCol w="3515645">
                  <a:extLst>
                    <a:ext uri="{9D8B030D-6E8A-4147-A177-3AD203B41FA5}">
                      <a16:colId xmlns:a16="http://schemas.microsoft.com/office/drawing/2014/main" val="2183510017"/>
                    </a:ext>
                  </a:extLst>
                </a:gridCol>
                <a:gridCol w="1048525">
                  <a:extLst>
                    <a:ext uri="{9D8B030D-6E8A-4147-A177-3AD203B41FA5}">
                      <a16:colId xmlns:a16="http://schemas.microsoft.com/office/drawing/2014/main" val="933127575"/>
                    </a:ext>
                  </a:extLst>
                </a:gridCol>
                <a:gridCol w="2097052">
                  <a:extLst>
                    <a:ext uri="{9D8B030D-6E8A-4147-A177-3AD203B41FA5}">
                      <a16:colId xmlns:a16="http://schemas.microsoft.com/office/drawing/2014/main" val="2961561199"/>
                    </a:ext>
                  </a:extLst>
                </a:gridCol>
                <a:gridCol w="2097052">
                  <a:extLst>
                    <a:ext uri="{9D8B030D-6E8A-4147-A177-3AD203B41FA5}">
                      <a16:colId xmlns:a16="http://schemas.microsoft.com/office/drawing/2014/main" val="2524797807"/>
                    </a:ext>
                  </a:extLst>
                </a:gridCol>
                <a:gridCol w="2097052">
                  <a:extLst>
                    <a:ext uri="{9D8B030D-6E8A-4147-A177-3AD203B41FA5}">
                      <a16:colId xmlns:a16="http://schemas.microsoft.com/office/drawing/2014/main" val="1956460252"/>
                    </a:ext>
                  </a:extLst>
                </a:gridCol>
              </a:tblGrid>
              <a:tr h="344621">
                <a:tc>
                  <a:txBody>
                    <a:bodyPr/>
                    <a:lstStyle/>
                    <a:p>
                      <a:pPr algn="l" fontAlgn="b">
                        <a:buNone/>
                      </a:pPr>
                      <a:r>
                        <a:rPr sz="900" b="1" u="none">
                          <a:latin typeface="+mj-lt"/>
                        </a:rPr>
                        <a:t>Modelo</a:t>
                      </a:r>
                      <a:endParaRPr lang="en-GB"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fontAlgn="b">
                        <a:buNone/>
                      </a:pPr>
                      <a:r>
                        <a:rPr lang="en-GB" sz="900" b="1" u="none" strike="noStrike" noProof="0" dirty="0">
                          <a:solidFill>
                            <a:schemeClr val="tx1"/>
                          </a:solidFill>
                          <a:effectLst/>
                          <a:latin typeface="+mj-lt"/>
                        </a:rPr>
                        <a:t> </a:t>
                      </a:r>
                      <a:endParaRPr lang="en-GB"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45M-200/960 FA 400/3/50 EU</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45M-200/960 FAX 400/3/50 UE</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45M-200/960 PAX 400/3/50 EU</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fontAlgn="b">
                        <a:buNone/>
                      </a:pPr>
                      <a:r>
                        <a:rPr sz="900" b="0" u="none">
                          <a:latin typeface="+mn-lt"/>
                        </a:rPr>
                        <a:t>Número de artícul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4</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fontAlgn="b">
                        <a:buNone/>
                      </a:pPr>
                      <a:r>
                        <a:rPr sz="900" b="0" u="none">
                          <a:latin typeface="+mn-lt"/>
                        </a:rPr>
                        <a:t>Tensión de alimenta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V/fase/Hz</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fontAlgn="b">
                        <a:buNone/>
                      </a:pPr>
                      <a:r>
                        <a:rPr sz="900" b="0" u="none">
                          <a:latin typeface="+mn-lt"/>
                        </a:rPr>
                        <a:t>Fus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fontAlgn="b">
                        <a:buNone/>
                      </a:pPr>
                      <a:r>
                        <a:rPr sz="900" b="0" u="none">
                          <a:latin typeface="+mn-lt"/>
                        </a:rPr>
                        <a:t>Potencia nomin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fontAlgn="b">
                        <a:buNone/>
                      </a:pPr>
                      <a:r>
                        <a:rPr sz="900" b="0" u="none">
                          <a:latin typeface="+mn-lt"/>
                        </a:rPr>
                        <a:t>Presión de trabaj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fontAlgn="b">
                        <a:buNone/>
                      </a:pPr>
                      <a:r>
                        <a:rPr sz="900" b="0" u="none">
                          <a:latin typeface="+mn-lt"/>
                        </a:rPr>
                        <a:t>Caudal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9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9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9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fontAlgn="b">
                        <a:buNone/>
                      </a:pPr>
                      <a:r>
                        <a:rPr sz="900" b="0" u="none">
                          <a:latin typeface="+mn-lt"/>
                        </a:rPr>
                        <a:t>Caudal máximo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6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6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6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fontAlgn="b">
                        <a:buNone/>
                      </a:pPr>
                      <a:r>
                        <a:rPr sz="900" b="0" u="none">
                          <a:latin typeface="+mn-lt"/>
                        </a:rPr>
                        <a:t>Temperatura máxima del agua de entrad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fontAlgn="b">
                        <a:buNone/>
                      </a:pPr>
                      <a:r>
                        <a:rPr sz="900" b="0" u="none">
                          <a:latin typeface="+mn-lt"/>
                        </a:rPr>
                        <a:t>Presión máx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fontAlgn="b">
                        <a:buNone/>
                      </a:pPr>
                      <a:r>
                        <a:rPr sz="900" b="0" u="none">
                          <a:latin typeface="+mn-lt"/>
                        </a:rPr>
                        <a:t>Presión mín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fontAlgn="b">
                        <a:buNone/>
                      </a:pPr>
                      <a:r>
                        <a:rPr sz="900" b="0" u="none">
                          <a:latin typeface="+mn-lt"/>
                        </a:rPr>
                        <a:t>Dimensiones del embalaje (LxAnx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mm</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10x700x1016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fontAlgn="b">
                        <a:buNone/>
                      </a:pPr>
                      <a:r>
                        <a:rPr sz="900" b="0" u="none">
                          <a:latin typeface="+mn-lt"/>
                        </a:rPr>
                        <a:t>Pes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67</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6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6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fontAlgn="b">
                        <a:buNone/>
                      </a:pPr>
                      <a:r>
                        <a:rPr sz="900" b="0" u="none">
                          <a:latin typeface="+mn-lt"/>
                        </a:rPr>
                        <a:t>Nivel de presión sonora LP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8</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fontAlgn="b">
                        <a:buNone/>
                      </a:pPr>
                      <a:r>
                        <a:rPr sz="900" b="0" u="none">
                          <a:latin typeface="+mn-lt"/>
                        </a:rPr>
                        <a:t>Nivel de potencia sonora LW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4</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4</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7</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fontAlgn="b">
                        <a:buNone/>
                      </a:pPr>
                      <a:r>
                        <a:rPr sz="900" b="0" u="none">
                          <a:latin typeface="+mn-lt"/>
                        </a:rPr>
                        <a:t>Impacto de limpiez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5,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fontAlgn="b">
                        <a:buNone/>
                      </a:pPr>
                      <a:r>
                        <a:rPr sz="900" b="0" u="none">
                          <a:latin typeface="+mn-lt"/>
                        </a:rPr>
                        <a:t>Tamaño de la boquill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7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7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47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fontAlgn="b">
                        <a:buNone/>
                      </a:pPr>
                      <a:r>
                        <a:rPr sz="900" b="0" u="none">
                          <a:latin typeface="+mn-lt"/>
                        </a:rPr>
                        <a:t>Temperatura máxima del agua (caliente / vapor)</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fontAlgn="b">
                        <a:buNone/>
                      </a:pPr>
                      <a:r>
                        <a:rPr sz="900" b="0" u="none">
                          <a:latin typeface="+mn-lt"/>
                        </a:rPr>
                        <a:t>Consumo de combustible con un aumento de temperatura de 45 °C</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8</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8</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8</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fontAlgn="b">
                        <a:buNone/>
                      </a:pPr>
                      <a:r>
                        <a:rPr sz="900" b="0" u="none">
                          <a:latin typeface="+mn-lt"/>
                        </a:rPr>
                        <a:t>Capacidad de calefac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fontAlgn="b">
                        <a:buNone/>
                      </a:pPr>
                      <a:r>
                        <a:rPr sz="900" b="0" u="none">
                          <a:latin typeface="+mn-lt"/>
                        </a:rPr>
                        <a:t>Depósito de combust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fontAlgn="b">
                        <a:buNone/>
                      </a:pPr>
                      <a:r>
                        <a:rPr sz="900" b="0" u="none">
                          <a:latin typeface="+mn-lt"/>
                        </a:rPr>
                        <a:t>Tipo de combustible de la calder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fontAlgn="b">
                        <a:buNone/>
                      </a:pPr>
                      <a:r>
                        <a:rPr sz="900" b="0" u="none">
                          <a:latin typeface="+mn-lt"/>
                        </a:rPr>
                        <a:t>Depósito de detergent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1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2453874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FC105-F4FB-5E6C-5AE6-7F9AB9D1B944}"/>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9FC4B61E-C411-6AFE-80A2-1F30724760AE}"/>
              </a:ext>
            </a:extLst>
          </p:cNvPr>
          <p:cNvSpPr>
            <a:spLocks noGrp="1"/>
          </p:cNvSpPr>
          <p:nvPr>
            <p:ph type="body" sz="quarter" idx="14"/>
          </p:nvPr>
        </p:nvSpPr>
        <p:spPr/>
        <p:txBody>
          <a:bodyPr/>
          <a:lstStyle/>
          <a:p>
            <a:r>
              <a:t>Modelos de gama avanzada: especificaciones técnicas.</a:t>
            </a:r>
          </a:p>
        </p:txBody>
      </p:sp>
      <p:sp>
        <p:nvSpPr>
          <p:cNvPr id="4" name="Titel 3">
            <a:extLst>
              <a:ext uri="{FF2B5EF4-FFF2-40B4-BE49-F238E27FC236}">
                <a16:creationId xmlns:a16="http://schemas.microsoft.com/office/drawing/2014/main" id="{78A8EC66-6077-2BED-E422-44562E3434E2}"/>
              </a:ext>
            </a:extLst>
          </p:cNvPr>
          <p:cNvSpPr>
            <a:spLocks noGrp="1"/>
          </p:cNvSpPr>
          <p:nvPr>
            <p:ph type="title"/>
          </p:nvPr>
        </p:nvSpPr>
        <p:spPr/>
        <p:txBody>
          <a:bodyPr/>
          <a:lstStyle/>
          <a:p>
            <a:r>
              <a:t>MH55</a:t>
            </a:r>
          </a:p>
        </p:txBody>
      </p:sp>
      <p:sp>
        <p:nvSpPr>
          <p:cNvPr id="5" name="Pladsholder til sidefod 4">
            <a:extLst>
              <a:ext uri="{FF2B5EF4-FFF2-40B4-BE49-F238E27FC236}">
                <a16:creationId xmlns:a16="http://schemas.microsoft.com/office/drawing/2014/main" id="{89E604BC-C0A6-1960-62E4-5FEBD658FCB0}"/>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5CD93E64-5545-0E85-D803-D9A53F36946D}"/>
              </a:ext>
            </a:extLst>
          </p:cNvPr>
          <p:cNvSpPr>
            <a:spLocks noGrp="1"/>
          </p:cNvSpPr>
          <p:nvPr>
            <p:ph type="sldNum" sz="quarter" idx="17"/>
          </p:nvPr>
        </p:nvSpPr>
        <p:spPr/>
        <p:txBody>
          <a:bodyPr/>
          <a:lstStyle/>
          <a:p>
            <a:fld id="{6C385236-B7BA-4938-9EA6-6DEC8CA653D7}" type="slidenum">
              <a:rPr lang="en-GB" noProof="0" smtClean="0"/>
              <a:pPr/>
              <a:t>43</a:t>
            </a:fld>
            <a:endParaRPr lang="en-GB" noProof="0" dirty="0"/>
          </a:p>
        </p:txBody>
      </p:sp>
      <p:graphicFrame>
        <p:nvGraphicFramePr>
          <p:cNvPr id="9" name="Pladsholder til indhold 8">
            <a:extLst>
              <a:ext uri="{FF2B5EF4-FFF2-40B4-BE49-F238E27FC236}">
                <a16:creationId xmlns:a16="http://schemas.microsoft.com/office/drawing/2014/main" id="{00B92448-5767-EA05-5607-91EFF076E58D}"/>
              </a:ext>
            </a:extLst>
          </p:cNvPr>
          <p:cNvGraphicFramePr>
            <a:graphicFrameLocks noGrp="1"/>
          </p:cNvGraphicFramePr>
          <p:nvPr>
            <p:ph sz="quarter" idx="13"/>
            <p:extLst>
              <p:ext uri="{D42A27DB-BD31-4B8C-83A1-F6EECF244321}">
                <p14:modId xmlns:p14="http://schemas.microsoft.com/office/powerpoint/2010/main" val="1586729224"/>
              </p:ext>
            </p:extLst>
          </p:nvPr>
        </p:nvGraphicFramePr>
        <p:xfrm>
          <a:off x="475520" y="1261890"/>
          <a:ext cx="9201878" cy="5077800"/>
        </p:xfrm>
        <a:graphic>
          <a:graphicData uri="http://schemas.openxmlformats.org/drawingml/2006/table">
            <a:tbl>
              <a:tblPr>
                <a:tableStyleId>{2D5ABB26-0587-4C30-8999-92F81FD0307C}</a:tableStyleId>
              </a:tblPr>
              <a:tblGrid>
                <a:gridCol w="2716247">
                  <a:extLst>
                    <a:ext uri="{9D8B030D-6E8A-4147-A177-3AD203B41FA5}">
                      <a16:colId xmlns:a16="http://schemas.microsoft.com/office/drawing/2014/main" val="2183510017"/>
                    </a:ext>
                  </a:extLst>
                </a:gridCol>
                <a:gridCol w="810108">
                  <a:extLst>
                    <a:ext uri="{9D8B030D-6E8A-4147-A177-3AD203B41FA5}">
                      <a16:colId xmlns:a16="http://schemas.microsoft.com/office/drawing/2014/main" val="933127575"/>
                    </a:ext>
                  </a:extLst>
                </a:gridCol>
                <a:gridCol w="1891841">
                  <a:extLst>
                    <a:ext uri="{9D8B030D-6E8A-4147-A177-3AD203B41FA5}">
                      <a16:colId xmlns:a16="http://schemas.microsoft.com/office/drawing/2014/main" val="753635853"/>
                    </a:ext>
                  </a:extLst>
                </a:gridCol>
                <a:gridCol w="1891841">
                  <a:extLst>
                    <a:ext uri="{9D8B030D-6E8A-4147-A177-3AD203B41FA5}">
                      <a16:colId xmlns:a16="http://schemas.microsoft.com/office/drawing/2014/main" val="2961561199"/>
                    </a:ext>
                  </a:extLst>
                </a:gridCol>
                <a:gridCol w="1891841">
                  <a:extLst>
                    <a:ext uri="{9D8B030D-6E8A-4147-A177-3AD203B41FA5}">
                      <a16:colId xmlns:a16="http://schemas.microsoft.com/office/drawing/2014/main" val="2584571107"/>
                    </a:ext>
                  </a:extLst>
                </a:gridCol>
              </a:tblGrid>
              <a:tr h="344621">
                <a:tc>
                  <a:txBody>
                    <a:bodyPr/>
                    <a:lstStyle/>
                    <a:p>
                      <a:pPr algn="l" fontAlgn="b">
                        <a:buNone/>
                      </a:pPr>
                      <a:r>
                        <a:rPr sz="900" b="1" u="none">
                          <a:latin typeface="+mj-lt"/>
                        </a:rPr>
                        <a:t>Modelo</a:t>
                      </a:r>
                      <a:endParaRPr lang="en-GB"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fontAlgn="b">
                        <a:buNone/>
                      </a:pPr>
                      <a:r>
                        <a:rPr lang="en-GB" sz="900" b="1" u="none" strike="noStrike" noProof="0" dirty="0">
                          <a:solidFill>
                            <a:schemeClr val="tx1"/>
                          </a:solidFill>
                          <a:effectLst/>
                          <a:latin typeface="+mj-lt"/>
                        </a:rPr>
                        <a:t> </a:t>
                      </a:r>
                      <a:endParaRPr lang="en-GB"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55M-220/1100 FA 400/3/50 EU</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dirty="0">
                          <a:latin typeface="+mj-lt"/>
                        </a:rPr>
                        <a:t>MH55M-220/1100 FAX 400/3/50 EU</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fontAlgn="ctr">
                        <a:buNone/>
                      </a:pPr>
                      <a:r>
                        <a:rPr sz="900" b="1" u="none">
                          <a:latin typeface="+mj-lt"/>
                        </a:rPr>
                        <a:t>MH55M-220/1100 PAX 400/3/50 EU</a:t>
                      </a:r>
                      <a:endParaRPr lang="en-GB"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fontAlgn="b">
                        <a:buNone/>
                      </a:pPr>
                      <a:r>
                        <a:rPr sz="900" b="0" u="none">
                          <a:latin typeface="+mn-lt"/>
                        </a:rPr>
                        <a:t>Número de artícul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7</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8</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7147109</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fontAlgn="b">
                        <a:buNone/>
                      </a:pPr>
                      <a:r>
                        <a:rPr sz="900" b="0" u="none">
                          <a:latin typeface="+mn-lt"/>
                        </a:rPr>
                        <a:t>Tensión de alimenta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V/fase/Hz</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00/3/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fontAlgn="b">
                        <a:buNone/>
                      </a:pPr>
                      <a:r>
                        <a:rPr sz="900" b="0" u="none">
                          <a:latin typeface="+mn-lt"/>
                        </a:rPr>
                        <a:t>Fus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C1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fontAlgn="b">
                        <a:buNone/>
                      </a:pPr>
                      <a:r>
                        <a:rPr sz="900" b="0" u="none">
                          <a:latin typeface="+mn-lt"/>
                        </a:rPr>
                        <a:t>Potencia nomin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9</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9</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9</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fontAlgn="b">
                        <a:buNone/>
                      </a:pPr>
                      <a:r>
                        <a:rPr sz="900" b="0" u="none">
                          <a:latin typeface="+mn-lt"/>
                        </a:rPr>
                        <a:t>Presión de trabaj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2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2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2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fontAlgn="b">
                        <a:buNone/>
                      </a:pPr>
                      <a:r>
                        <a:rPr sz="900" b="0" u="none">
                          <a:latin typeface="+mn-lt"/>
                        </a:rPr>
                        <a:t>Caudal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fontAlgn="b">
                        <a:buNone/>
                      </a:pPr>
                      <a:r>
                        <a:rPr sz="900" b="0" u="none">
                          <a:latin typeface="+mn-lt"/>
                        </a:rPr>
                        <a:t>Caudal máximo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0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fontAlgn="b">
                        <a:buNone/>
                      </a:pPr>
                      <a:r>
                        <a:rPr sz="900" b="0" u="none">
                          <a:latin typeface="+mn-lt"/>
                        </a:rPr>
                        <a:t>Temperatura máxima del agua de entrad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fontAlgn="b">
                        <a:buNone/>
                      </a:pPr>
                      <a:r>
                        <a:rPr sz="900" b="0" u="none">
                          <a:latin typeface="+mn-lt"/>
                        </a:rPr>
                        <a:t>Presión máx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fontAlgn="b">
                        <a:buNone/>
                      </a:pPr>
                      <a:r>
                        <a:rPr sz="900" b="0" u="none">
                          <a:latin typeface="+mn-lt"/>
                        </a:rPr>
                        <a:t>Presión mínima de entrada de agu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bar (MP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fontAlgn="b">
                        <a:buNone/>
                      </a:pPr>
                      <a:r>
                        <a:rPr sz="900" b="0" u="none">
                          <a:latin typeface="+mn-lt"/>
                        </a:rPr>
                        <a:t>Dimensiones del embalaje (LxAnxAl)</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mm</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88x700x1020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88x700x1020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1188x700x1020 mm</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fontAlgn="b">
                        <a:buNone/>
                      </a:pPr>
                      <a:r>
                        <a:rPr sz="900" b="0" u="none">
                          <a:latin typeface="+mn-lt"/>
                        </a:rPr>
                        <a:t>Peso</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13</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09</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fontAlgn="b">
                        <a:buNone/>
                      </a:pPr>
                      <a:r>
                        <a:rPr sz="900" b="0" u="none">
                          <a:latin typeface="+mn-lt"/>
                        </a:rPr>
                        <a:t>Nivel de presión sonora LP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77</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fontAlgn="b">
                        <a:buNone/>
                      </a:pPr>
                      <a:r>
                        <a:rPr sz="900" b="0" u="none">
                          <a:latin typeface="+mn-lt"/>
                        </a:rPr>
                        <a:t>Nivel de potencia sonora LW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dB(A)</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4</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4</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fontAlgn="b">
                        <a:buNone/>
                      </a:pPr>
                      <a:r>
                        <a:rPr sz="900" b="0" u="none">
                          <a:latin typeface="+mn-lt"/>
                        </a:rPr>
                        <a:t>Impacto de limpiez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6,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fontAlgn="b">
                        <a:buNone/>
                      </a:pPr>
                      <a:r>
                        <a:rPr sz="900" b="0" u="none">
                          <a:latin typeface="+mn-lt"/>
                        </a:rPr>
                        <a:t>Tamaño de la boquill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5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5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05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fontAlgn="b">
                        <a:buNone/>
                      </a:pPr>
                      <a:r>
                        <a:rPr sz="900" b="0" u="none">
                          <a:latin typeface="+mn-lt"/>
                        </a:rPr>
                        <a:t>Temperatura máxima del agua (caliente / vapor)</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C</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90/15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fontAlgn="b">
                        <a:buNone/>
                      </a:pPr>
                      <a:r>
                        <a:rPr sz="900" b="0" u="none">
                          <a:latin typeface="+mn-lt"/>
                        </a:rPr>
                        <a:t>Consumo de combustible con un aumento de temperatura de 45 °C</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g/h</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4,6</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fontAlgn="b">
                        <a:buNone/>
                      </a:pPr>
                      <a:r>
                        <a:rPr sz="900" b="0" u="none">
                          <a:latin typeface="+mn-lt"/>
                        </a:rPr>
                        <a:t>Capacidad de calefacción</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kW</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85</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fontAlgn="b">
                        <a:buNone/>
                      </a:pPr>
                      <a:r>
                        <a:rPr sz="900" b="0" u="none">
                          <a:latin typeface="+mn-lt"/>
                        </a:rPr>
                        <a:t>Depósito de combustibl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3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fontAlgn="b">
                        <a:buNone/>
                      </a:pPr>
                      <a:r>
                        <a:rPr sz="900" b="0" u="none">
                          <a:latin typeface="+mn-lt"/>
                        </a:rPr>
                        <a:t>Tipo de combustible de la caldera</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lang="en-GB" sz="900" b="0" u="none" strike="noStrike" noProof="0" dirty="0">
                          <a:solidFill>
                            <a:schemeClr val="tx1"/>
                          </a:solidFill>
                          <a:effectLst/>
                          <a:latin typeface="+mn-lt"/>
                        </a:rPr>
                        <a:t> </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Diésel/Biodiésel</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fontAlgn="b">
                        <a:buNone/>
                      </a:pPr>
                      <a:r>
                        <a:rPr sz="900" b="0" u="none">
                          <a:latin typeface="+mn-lt"/>
                        </a:rPr>
                        <a:t>Depósito de detergente</a:t>
                      </a:r>
                      <a:endParaRPr lang="en-GB"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fontAlgn="b">
                        <a:buNone/>
                      </a:pPr>
                      <a:r>
                        <a:rPr sz="900" b="0" u="none">
                          <a:latin typeface="+mn-lt"/>
                        </a:rPr>
                        <a:t>l</a:t>
                      </a:r>
                      <a:endParaRPr lang="en-GB"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2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a:latin typeface="+mn-lt"/>
                        </a:rPr>
                        <a:t>2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ctr">
                        <a:buNone/>
                      </a:pPr>
                      <a:r>
                        <a:rPr sz="900" b="0" u="none" dirty="0">
                          <a:latin typeface="+mn-lt"/>
                        </a:rPr>
                        <a:t>2x10</a:t>
                      </a:r>
                      <a:endParaRPr lang="en-GB"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10880266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D47BEE29-AF5C-8593-553A-7CE943ACA1A0}"/>
              </a:ext>
            </a:extLst>
          </p:cNvPr>
          <p:cNvGraphicFramePr>
            <a:graphicFrameLocks noGrp="1"/>
          </p:cNvGraphicFramePr>
          <p:nvPr>
            <p:ph sz="quarter" idx="13"/>
            <p:extLst>
              <p:ext uri="{D42A27DB-BD31-4B8C-83A1-F6EECF244321}">
                <p14:modId xmlns:p14="http://schemas.microsoft.com/office/powerpoint/2010/main" val="4233539628"/>
              </p:ext>
            </p:extLst>
          </p:nvPr>
        </p:nvGraphicFramePr>
        <p:xfrm>
          <a:off x="473569" y="1250333"/>
          <a:ext cx="9072000" cy="4870092"/>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2160000">
                  <a:extLst>
                    <a:ext uri="{9D8B030D-6E8A-4147-A177-3AD203B41FA5}">
                      <a16:colId xmlns:a16="http://schemas.microsoft.com/office/drawing/2014/main" val="2658713099"/>
                    </a:ext>
                  </a:extLst>
                </a:gridCol>
                <a:gridCol w="2160000">
                  <a:extLst>
                    <a:ext uri="{9D8B030D-6E8A-4147-A177-3AD203B41FA5}">
                      <a16:colId xmlns:a16="http://schemas.microsoft.com/office/drawing/2014/main" val="2317856389"/>
                    </a:ext>
                  </a:extLst>
                </a:gridCol>
                <a:gridCol w="2160000">
                  <a:extLst>
                    <a:ext uri="{9D8B030D-6E8A-4147-A177-3AD203B41FA5}">
                      <a16:colId xmlns:a16="http://schemas.microsoft.com/office/drawing/2014/main" val="3520540580"/>
                    </a:ext>
                  </a:extLst>
                </a:gridCol>
              </a:tblGrid>
              <a:tr h="255832">
                <a:tc>
                  <a:txBody>
                    <a:bodyPr/>
                    <a:lstStyle/>
                    <a:p>
                      <a:pPr marL="0" marR="0" lvl="0" indent="0" algn="l" defTabSz="1023967" rtl="0" eaLnBrk="1" fontAlgn="auto" hangingPunct="1">
                        <a:lnSpc>
                          <a:spcPct val="100000"/>
                        </a:lnSpc>
                        <a:spcBef>
                          <a:spcPts val="0"/>
                        </a:spcBef>
                        <a:spcAft>
                          <a:spcPts val="0"/>
                        </a:spcAft>
                        <a:buFontTx/>
                        <a:buNone/>
                      </a:pPr>
                      <a:r>
                        <a:rPr lang="en-GB" sz="700" b="1" u="none" strike="noStrike" kern="1200" cap="none" spc="0" normalizeH="0" baseline="0" noProof="0" dirty="0">
                          <a:solidFill>
                            <a:schemeClr val="tx1">
                              <a:lumMod val="100000"/>
                            </a:schemeClr>
                          </a:solidFill>
                          <a:effectLst/>
                          <a:latin typeface="+mj-lt"/>
                          <a:sym typeface=""/>
                        </a:rPr>
                        <a:t> </a:t>
                      </a:r>
                      <a:endParaRPr lang="en-GB"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u="none">
                          <a:latin typeface="+mj-lt"/>
                        </a:rPr>
                        <a:t>MH35C-180/780 PAX 400/3/50 EU</a:t>
                      </a: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u="none">
                          <a:latin typeface="+mj-lt"/>
                        </a:rPr>
                        <a:t>MH35C-145/600 PA 230/1/50 UE</a:t>
                      </a: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u="none">
                          <a:latin typeface="+mj-lt"/>
                        </a:rPr>
                        <a:t>MH35C-145/600 PAX 230/1/50 EU</a:t>
                      </a:r>
                    </a:p>
                  </a:txBody>
                  <a:tcPr marL="0" marR="0" marT="10800" marB="108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107147103</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107147153</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107147155</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aldera de Alta Eficiencia Energétic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aldera EcoPower™</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alificación de eficiencia según EUnited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95</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95</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95</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Material del cabezal de la bomb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NA3</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NA3</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NA3</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Material de los pistones</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cero inoxida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cero inoxida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cero inoxida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Material del cabezal de la bomb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Latón</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Latón</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Latón</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Arranque/parada automáticos</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arrete de manguer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oporte para pistola pulverizador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Gancho para cable giratori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oporte doble para lanzas</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ensor de combusti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ensor de llam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ensor de temperatura de gases de escap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ámara de la caldera de acero inoxida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Pantalla LCD</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onexión Bluetooth para el servici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Diagnóstico y detección de fallos de la máquin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Almacenamiento de lanza y pistola pulverizador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Monofásic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Trifásic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1450 rpm</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sym typeface=""/>
                        </a:rPr>
                        <a:t> </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Depósito de detergent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Detergente integrad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Indicador de mantenimient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istema de detergente de alta presión</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Regulación de la presión del agu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Tanque de ruptura de agu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Transportable mediante carretilla elevador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Visor de combustible</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istema de seguridad por bajo nivel de aceite en la bomb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Seguridad ante nivel bajo de agua</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Antical</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836">
                <a:tc>
                  <a:txBody>
                    <a:bodyPr/>
                    <a:lstStyle/>
                    <a:p>
                      <a:pPr marL="0" marR="0" indent="0" algn="l" defTabSz="1023967" rtl="0" eaLnBrk="1" fontAlgn="auto" hangingPunct="1">
                        <a:lnSpc>
                          <a:spcPct val="100000"/>
                        </a:lnSpc>
                        <a:spcBef>
                          <a:spcPts val="0"/>
                        </a:spcBef>
                        <a:spcAft>
                          <a:spcPts val="0"/>
                        </a:spcAft>
                        <a:buFontTx/>
                        <a:buNone/>
                      </a:pPr>
                      <a:r>
                        <a:rPr sz="700" b="0" u="none"/>
                        <a:t>Caja de almacenamient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u="none" dirty="0"/>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u="none" dirty="0"/>
                        <a:t>•</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086F8216-969A-507C-5DAC-2BD253812C4C}"/>
              </a:ext>
            </a:extLst>
          </p:cNvPr>
          <p:cNvSpPr>
            <a:spLocks noGrp="1"/>
          </p:cNvSpPr>
          <p:nvPr>
            <p:ph type="body" sz="quarter" idx="14"/>
          </p:nvPr>
        </p:nvSpPr>
        <p:spPr/>
        <p:txBody>
          <a:bodyPr/>
          <a:lstStyle/>
          <a:p>
            <a:r>
              <a:t>Modelos avanzados: características principales</a:t>
            </a:r>
          </a:p>
        </p:txBody>
      </p:sp>
      <p:sp>
        <p:nvSpPr>
          <p:cNvPr id="4" name="Titel 3">
            <a:extLst>
              <a:ext uri="{FF2B5EF4-FFF2-40B4-BE49-F238E27FC236}">
                <a16:creationId xmlns:a16="http://schemas.microsoft.com/office/drawing/2014/main" id="{FAB471BC-98BF-B7BD-9442-31095E5A0AC0}"/>
              </a:ext>
            </a:extLst>
          </p:cNvPr>
          <p:cNvSpPr>
            <a:spLocks noGrp="1"/>
          </p:cNvSpPr>
          <p:nvPr>
            <p:ph type="title"/>
          </p:nvPr>
        </p:nvSpPr>
        <p:spPr/>
        <p:txBody>
          <a:bodyPr/>
          <a:lstStyle/>
          <a:p>
            <a:r>
              <a:t>MH35</a:t>
            </a:r>
          </a:p>
        </p:txBody>
      </p:sp>
      <p:sp>
        <p:nvSpPr>
          <p:cNvPr id="5" name="Pladsholder til sidefod 4">
            <a:extLst>
              <a:ext uri="{FF2B5EF4-FFF2-40B4-BE49-F238E27FC236}">
                <a16:creationId xmlns:a16="http://schemas.microsoft.com/office/drawing/2014/main" id="{EF2C4187-7523-50D0-03B7-E4AFA7CCCD18}"/>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9289CDF1-0BFC-9E45-7866-F9B8C6D11F76}"/>
              </a:ext>
            </a:extLst>
          </p:cNvPr>
          <p:cNvSpPr>
            <a:spLocks noGrp="1"/>
          </p:cNvSpPr>
          <p:nvPr>
            <p:ph type="sldNum" sz="quarter" idx="17"/>
          </p:nvPr>
        </p:nvSpPr>
        <p:spPr/>
        <p:txBody>
          <a:bodyPr/>
          <a:lstStyle/>
          <a:p>
            <a:fld id="{6C385236-B7BA-4938-9EA6-6DEC8CA653D7}" type="slidenum">
              <a:rPr lang="en-GB" noProof="0" smtClean="0"/>
              <a:pPr/>
              <a:t>44</a:t>
            </a:fld>
            <a:endParaRPr lang="en-GB" noProof="0" dirty="0"/>
          </a:p>
        </p:txBody>
      </p:sp>
    </p:spTree>
    <p:extLst>
      <p:ext uri="{BB962C8B-B14F-4D97-AF65-F5344CB8AC3E}">
        <p14:creationId xmlns:p14="http://schemas.microsoft.com/office/powerpoint/2010/main" val="300558094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422E8-BC4D-D00D-45C0-F0402DD272EA}"/>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F19A9D1-0EEB-6647-89EC-43A094FB4997}"/>
              </a:ext>
            </a:extLst>
          </p:cNvPr>
          <p:cNvGraphicFramePr>
            <a:graphicFrameLocks noGrp="1"/>
          </p:cNvGraphicFramePr>
          <p:nvPr>
            <p:ph sz="quarter" idx="13"/>
            <p:extLst>
              <p:ext uri="{D42A27DB-BD31-4B8C-83A1-F6EECF244321}">
                <p14:modId xmlns:p14="http://schemas.microsoft.com/office/powerpoint/2010/main" val="377863088"/>
              </p:ext>
            </p:extLst>
          </p:nvPr>
        </p:nvGraphicFramePr>
        <p:xfrm>
          <a:off x="480795" y="1382554"/>
          <a:ext cx="6296400" cy="4891256"/>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1234800">
                  <a:extLst>
                    <a:ext uri="{9D8B030D-6E8A-4147-A177-3AD203B41FA5}">
                      <a16:colId xmlns:a16="http://schemas.microsoft.com/office/drawing/2014/main" val="348811325"/>
                    </a:ext>
                  </a:extLst>
                </a:gridCol>
                <a:gridCol w="1234800">
                  <a:extLst>
                    <a:ext uri="{9D8B030D-6E8A-4147-A177-3AD203B41FA5}">
                      <a16:colId xmlns:a16="http://schemas.microsoft.com/office/drawing/2014/main" val="2317856389"/>
                    </a:ext>
                  </a:extLst>
                </a:gridCol>
                <a:gridCol w="1234800">
                  <a:extLst>
                    <a:ext uri="{9D8B030D-6E8A-4147-A177-3AD203B41FA5}">
                      <a16:colId xmlns:a16="http://schemas.microsoft.com/office/drawing/2014/main" val="3520540580"/>
                    </a:ext>
                  </a:extLst>
                </a:gridCol>
              </a:tblGrid>
              <a:tr h="271816">
                <a:tc>
                  <a:txBody>
                    <a:bodyPr/>
                    <a:lstStyle/>
                    <a:p>
                      <a:pPr marL="0" marR="0" lvl="0" indent="0" algn="l" defTabSz="1023967" rtl="0" eaLnBrk="1" fontAlgn="auto" hangingPunct="1">
                        <a:lnSpc>
                          <a:spcPct val="100000"/>
                        </a:lnSpc>
                        <a:spcBef>
                          <a:spcPts val="0"/>
                        </a:spcBef>
                        <a:spcAft>
                          <a:spcPts val="0"/>
                        </a:spcAft>
                        <a:buFontTx/>
                        <a:buNone/>
                      </a:pPr>
                      <a:r>
                        <a:rPr lang="en-GB" sz="700" b="1" u="none" strike="noStrike" kern="1200" cap="none" spc="0" normalizeH="0" baseline="0" noProof="0" dirty="0">
                          <a:solidFill>
                            <a:schemeClr val="tx1">
                              <a:lumMod val="100000"/>
                            </a:schemeClr>
                          </a:solidFill>
                          <a:effectLst/>
                          <a:latin typeface="+mj-lt"/>
                          <a:sym typeface=""/>
                        </a:rPr>
                        <a:t> </a:t>
                      </a:r>
                      <a:endParaRPr lang="en-GB"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45M-200/960 FA 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45M-200/960 FAX 400/3/50 UE</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45M-200/960 PAX 400/3/50 EU</a:t>
                      </a:r>
                    </a:p>
                  </a:txBody>
                  <a:tcPr marL="0" marR="0" marT="18000" marB="18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sym typeface=""/>
                        </a:rPr>
                        <a:t> </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107147104</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107147105</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107147106</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aldera de Alta Eficiencia Energétic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aldera EcoPower™</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alificación de eficiencia según EUnited (%)</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Material del cabezal de la bomb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Material de los pistones</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Material del cabezal de la bomb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Arranque/parada automáticos</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arrete de manguer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oporte para pistola pulverizador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Gancho para cable giratori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oporte doble para lanzas</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ensor de combustible</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ensor de llam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ensor de temperatura de gases de escape</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ámara de la caldera de acero inoxidable</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Pantalla LCD</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Conexión Bluetooth para el servici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Diagnóstico y detección de fallos de la máquin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Almacenamiento de lanza y pistola pulverizador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Monofásic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Trifásic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1450 rpm</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Depósito de detergente</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Detergente integrad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Indicador de mantenimiento</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istema de detergente de alta presión</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Regulación de la presión del agu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Tanque de ruptura de agu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Transportable mediante carretilla elevador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Visor de combustible</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istema de seguridad por bajo nivel de aceite en la bomb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Roboto Light"/>
                        </a:rPr>
                        <a:t>Seguridad ante nivel bajo de agua</a:t>
                      </a:r>
                      <a:endParaRPr lang="en-GB"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t>Antical</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t>Caja de almacenamient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Roboto Ligh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F0B3E9C9-995D-73E0-6CD3-8B27486A16F0}"/>
              </a:ext>
            </a:extLst>
          </p:cNvPr>
          <p:cNvSpPr>
            <a:spLocks noGrp="1"/>
          </p:cNvSpPr>
          <p:nvPr>
            <p:ph type="body" sz="quarter" idx="14"/>
          </p:nvPr>
        </p:nvSpPr>
        <p:spPr/>
        <p:txBody>
          <a:bodyPr/>
          <a:lstStyle/>
          <a:p>
            <a:r>
              <a:t>Modelos avanzados: características principales</a:t>
            </a:r>
          </a:p>
        </p:txBody>
      </p:sp>
      <p:sp>
        <p:nvSpPr>
          <p:cNvPr id="4" name="Titel 3">
            <a:extLst>
              <a:ext uri="{FF2B5EF4-FFF2-40B4-BE49-F238E27FC236}">
                <a16:creationId xmlns:a16="http://schemas.microsoft.com/office/drawing/2014/main" id="{5C427961-58BC-4CAF-6292-69A7A94BE7D2}"/>
              </a:ext>
            </a:extLst>
          </p:cNvPr>
          <p:cNvSpPr>
            <a:spLocks noGrp="1"/>
          </p:cNvSpPr>
          <p:nvPr>
            <p:ph type="title"/>
          </p:nvPr>
        </p:nvSpPr>
        <p:spPr/>
        <p:txBody>
          <a:bodyPr/>
          <a:lstStyle/>
          <a:p>
            <a:r>
              <a:t>MH45</a:t>
            </a:r>
          </a:p>
        </p:txBody>
      </p:sp>
      <p:sp>
        <p:nvSpPr>
          <p:cNvPr id="5" name="Pladsholder til sidefod 4">
            <a:extLst>
              <a:ext uri="{FF2B5EF4-FFF2-40B4-BE49-F238E27FC236}">
                <a16:creationId xmlns:a16="http://schemas.microsoft.com/office/drawing/2014/main" id="{724C8312-1A3E-FAE0-241C-0A69564DF089}"/>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441687F7-BD03-5D08-9AE2-59E700FF7B96}"/>
              </a:ext>
            </a:extLst>
          </p:cNvPr>
          <p:cNvSpPr>
            <a:spLocks noGrp="1"/>
          </p:cNvSpPr>
          <p:nvPr>
            <p:ph type="sldNum" sz="quarter" idx="17"/>
          </p:nvPr>
        </p:nvSpPr>
        <p:spPr/>
        <p:txBody>
          <a:bodyPr/>
          <a:lstStyle/>
          <a:p>
            <a:fld id="{6C385236-B7BA-4938-9EA6-6DEC8CA653D7}" type="slidenum">
              <a:rPr lang="en-GB" noProof="0" smtClean="0"/>
              <a:pPr/>
              <a:t>45</a:t>
            </a:fld>
            <a:endParaRPr lang="en-GB" noProof="0" dirty="0"/>
          </a:p>
        </p:txBody>
      </p:sp>
    </p:spTree>
    <p:extLst>
      <p:ext uri="{BB962C8B-B14F-4D97-AF65-F5344CB8AC3E}">
        <p14:creationId xmlns:p14="http://schemas.microsoft.com/office/powerpoint/2010/main" val="6495823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363DA-BCD8-7285-EFC3-D197460A73C4}"/>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5410761B-DA4E-380D-0C07-55BC73B8D007}"/>
              </a:ext>
            </a:extLst>
          </p:cNvPr>
          <p:cNvGraphicFramePr>
            <a:graphicFrameLocks noGrp="1"/>
          </p:cNvGraphicFramePr>
          <p:nvPr>
            <p:ph sz="quarter" idx="13"/>
            <p:extLst>
              <p:ext uri="{D42A27DB-BD31-4B8C-83A1-F6EECF244321}">
                <p14:modId xmlns:p14="http://schemas.microsoft.com/office/powerpoint/2010/main" val="636231979"/>
              </p:ext>
            </p:extLst>
          </p:nvPr>
        </p:nvGraphicFramePr>
        <p:xfrm>
          <a:off x="480795" y="1382556"/>
          <a:ext cx="6912000" cy="4891256"/>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1440000">
                  <a:extLst>
                    <a:ext uri="{9D8B030D-6E8A-4147-A177-3AD203B41FA5}">
                      <a16:colId xmlns:a16="http://schemas.microsoft.com/office/drawing/2014/main" val="348811325"/>
                    </a:ext>
                  </a:extLst>
                </a:gridCol>
                <a:gridCol w="1440000">
                  <a:extLst>
                    <a:ext uri="{9D8B030D-6E8A-4147-A177-3AD203B41FA5}">
                      <a16:colId xmlns:a16="http://schemas.microsoft.com/office/drawing/2014/main" val="2658713099"/>
                    </a:ext>
                  </a:extLst>
                </a:gridCol>
                <a:gridCol w="1440000">
                  <a:extLst>
                    <a:ext uri="{9D8B030D-6E8A-4147-A177-3AD203B41FA5}">
                      <a16:colId xmlns:a16="http://schemas.microsoft.com/office/drawing/2014/main" val="2317856389"/>
                    </a:ext>
                  </a:extLst>
                </a:gridCol>
              </a:tblGrid>
              <a:tr h="271816">
                <a:tc>
                  <a:txBody>
                    <a:bodyPr/>
                    <a:lstStyle/>
                    <a:p>
                      <a:pPr marL="0" marR="0" lvl="0" indent="0" algn="l" defTabSz="1023967" rtl="0" eaLnBrk="1" fontAlgn="auto" hangingPunct="1">
                        <a:lnSpc>
                          <a:spcPct val="100000"/>
                        </a:lnSpc>
                        <a:spcBef>
                          <a:spcPts val="0"/>
                        </a:spcBef>
                        <a:spcAft>
                          <a:spcPts val="0"/>
                        </a:spcAft>
                        <a:buFontTx/>
                        <a:buNone/>
                      </a:pPr>
                      <a:r>
                        <a:rPr lang="en-GB" sz="700" b="1" u="none" strike="noStrike" kern="1200" cap="none" spc="0" normalizeH="0" baseline="0" noProof="0" dirty="0">
                          <a:solidFill>
                            <a:schemeClr val="tx1">
                              <a:lumMod val="100000"/>
                            </a:schemeClr>
                          </a:solidFill>
                          <a:effectLst/>
                          <a:latin typeface="+mj-lt"/>
                          <a:sym typeface=""/>
                        </a:rPr>
                        <a:t> </a:t>
                      </a:r>
                      <a:endParaRPr lang="en-GB"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55M-220/1100 FA 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55M-220/1100 FAX 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mj-lt"/>
                        </a:rPr>
                        <a:t>MH55M-220/1100 PAX 400/3/50 EU</a:t>
                      </a:r>
                    </a:p>
                  </a:txBody>
                  <a:tcPr marL="0" marR="0" marT="18000" marB="18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n-GB" sz="700" b="0" u="none" strike="noStrike" kern="1200" cap="none" spc="0" normalizeH="0" baseline="0" noProof="0" dirty="0">
                          <a:solidFill>
                            <a:schemeClr val="tx1">
                              <a:lumMod val="100000"/>
                            </a:schemeClr>
                          </a:solidFill>
                          <a:effectLst/>
                          <a:latin typeface="+mn-lt"/>
                          <a:ea typeface="Roboto Light" panose="02000000000000000000" pitchFamily="2" charset="0"/>
                          <a:sym typeface=""/>
                        </a:rPr>
                        <a:t> </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107147107</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107147108</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107147109</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aldera de Alta Eficiencia Energétic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aldera EcoPower™</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alificación de eficiencia según EUnited (%)</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Material del cabezal de la bomb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Material de los pistones</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Cerámica integral</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Material del cabezal de la bomb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Arranque/parada automáticos</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arrete de manguer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oporte para pistola pulverizador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Gancho para cable giratori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oporte doble para lanzas</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ensor de combustible</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ensor de llam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ensor de temperatura de gases de escape</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ámara de la caldera de acero inoxidable</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Pantalla LCD</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onexión Bluetooth para el servici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Diagnóstico y detección de fallos de la máquin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Almacenamiento de lanza y pistola pulverizador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Monofásic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Trifásic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1450 rpm</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Depósito de detergente</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Detergente integrad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Indicador de mantenimiento</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istema de detergente de alta presión</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Regulación de la presión del agu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Tanque de ruptura de agu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Transportable mediante carretilla elevador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Visor de combustible</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istema de seguridad por bajo nivel de aceite en la bomb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Seguridad ante nivel bajo de agua</a:t>
                      </a:r>
                      <a:endParaRPr lang="en-GB"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Antical</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984">
                <a:tc>
                  <a:txBody>
                    <a:bodyPr/>
                    <a:lstStyle/>
                    <a:p>
                      <a:pPr marL="0" marR="0" indent="0" algn="l" defTabSz="1023967" rtl="0" eaLnBrk="1" fontAlgn="auto" hangingPunct="1">
                        <a:lnSpc>
                          <a:spcPct val="100000"/>
                        </a:lnSpc>
                        <a:spcBef>
                          <a:spcPts val="0"/>
                        </a:spcBef>
                        <a:spcAft>
                          <a:spcPts val="0"/>
                        </a:spcAft>
                        <a:buFontTx/>
                        <a:buNone/>
                      </a:pPr>
                      <a:r>
                        <a:rPr sz="700" b="0" u="none">
                          <a:latin typeface="+mn-lt"/>
                        </a:rPr>
                        <a:t>Caja de almacenamiento</a:t>
                      </a:r>
                      <a:endParaRPr lang="en-GB"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7C131BD6-870A-60C7-AD15-073A39A5C905}"/>
              </a:ext>
            </a:extLst>
          </p:cNvPr>
          <p:cNvSpPr>
            <a:spLocks noGrp="1"/>
          </p:cNvSpPr>
          <p:nvPr>
            <p:ph type="body" sz="quarter" idx="14"/>
          </p:nvPr>
        </p:nvSpPr>
        <p:spPr/>
        <p:txBody>
          <a:bodyPr/>
          <a:lstStyle/>
          <a:p>
            <a:r>
              <a:t>Modelos de gama avanzada: características</a:t>
            </a:r>
          </a:p>
        </p:txBody>
      </p:sp>
      <p:sp>
        <p:nvSpPr>
          <p:cNvPr id="4" name="Titel 3">
            <a:extLst>
              <a:ext uri="{FF2B5EF4-FFF2-40B4-BE49-F238E27FC236}">
                <a16:creationId xmlns:a16="http://schemas.microsoft.com/office/drawing/2014/main" id="{DEE60856-05D6-02B2-03AE-3A791B791B80}"/>
              </a:ext>
            </a:extLst>
          </p:cNvPr>
          <p:cNvSpPr>
            <a:spLocks noGrp="1"/>
          </p:cNvSpPr>
          <p:nvPr>
            <p:ph type="title"/>
          </p:nvPr>
        </p:nvSpPr>
        <p:spPr/>
        <p:txBody>
          <a:bodyPr/>
          <a:lstStyle/>
          <a:p>
            <a:r>
              <a:t>MH55</a:t>
            </a:r>
          </a:p>
        </p:txBody>
      </p:sp>
      <p:sp>
        <p:nvSpPr>
          <p:cNvPr id="5" name="Pladsholder til sidefod 4">
            <a:extLst>
              <a:ext uri="{FF2B5EF4-FFF2-40B4-BE49-F238E27FC236}">
                <a16:creationId xmlns:a16="http://schemas.microsoft.com/office/drawing/2014/main" id="{7878C59B-B63B-6826-50B1-4CCC721029D3}"/>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55F70F1E-0B41-B57B-D7AA-AFA0D8413DAF}"/>
              </a:ext>
            </a:extLst>
          </p:cNvPr>
          <p:cNvSpPr>
            <a:spLocks noGrp="1"/>
          </p:cNvSpPr>
          <p:nvPr>
            <p:ph type="sldNum" sz="quarter" idx="17"/>
          </p:nvPr>
        </p:nvSpPr>
        <p:spPr/>
        <p:txBody>
          <a:bodyPr/>
          <a:lstStyle/>
          <a:p>
            <a:fld id="{6C385236-B7BA-4938-9EA6-6DEC8CA653D7}" type="slidenum">
              <a:rPr lang="en-GB" noProof="0" smtClean="0"/>
              <a:pPr/>
              <a:t>46</a:t>
            </a:fld>
            <a:endParaRPr lang="en-GB" noProof="0" dirty="0"/>
          </a:p>
        </p:txBody>
      </p:sp>
    </p:spTree>
    <p:extLst>
      <p:ext uri="{BB962C8B-B14F-4D97-AF65-F5344CB8AC3E}">
        <p14:creationId xmlns:p14="http://schemas.microsoft.com/office/powerpoint/2010/main" val="135186498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B7B46FBA-B017-937A-97E3-B9A8D7BC1190}"/>
              </a:ext>
            </a:extLst>
          </p:cNvPr>
          <p:cNvGraphicFramePr>
            <a:graphicFrameLocks noGrp="1"/>
          </p:cNvGraphicFramePr>
          <p:nvPr>
            <p:ph sz="quarter" idx="13"/>
            <p:extLst>
              <p:ext uri="{D42A27DB-BD31-4B8C-83A1-F6EECF244321}">
                <p14:modId xmlns:p14="http://schemas.microsoft.com/office/powerpoint/2010/main" val="1492395373"/>
              </p:ext>
            </p:extLst>
          </p:nvPr>
        </p:nvGraphicFramePr>
        <p:xfrm>
          <a:off x="476889" y="1261890"/>
          <a:ext cx="8905235" cy="5101622"/>
        </p:xfrm>
        <a:graphic>
          <a:graphicData uri="http://schemas.openxmlformats.org/drawingml/2006/table">
            <a:tbl>
              <a:tblPr firstRow="1" bandRow="1">
                <a:effectLst/>
                <a:tableStyleId>{2D5ABB26-0587-4C30-8999-92F81FD0307C}</a:tableStyleId>
              </a:tblPr>
              <a:tblGrid>
                <a:gridCol w="2658279">
                  <a:extLst>
                    <a:ext uri="{9D8B030D-6E8A-4147-A177-3AD203B41FA5}">
                      <a16:colId xmlns:a16="http://schemas.microsoft.com/office/drawing/2014/main" val="3112350542"/>
                    </a:ext>
                  </a:extLst>
                </a:gridCol>
                <a:gridCol w="1329140">
                  <a:extLst>
                    <a:ext uri="{9D8B030D-6E8A-4147-A177-3AD203B41FA5}">
                      <a16:colId xmlns:a16="http://schemas.microsoft.com/office/drawing/2014/main" val="382991330"/>
                    </a:ext>
                  </a:extLst>
                </a:gridCol>
                <a:gridCol w="1639272">
                  <a:extLst>
                    <a:ext uri="{9D8B030D-6E8A-4147-A177-3AD203B41FA5}">
                      <a16:colId xmlns:a16="http://schemas.microsoft.com/office/drawing/2014/main" val="2531555884"/>
                    </a:ext>
                  </a:extLst>
                </a:gridCol>
                <a:gridCol w="1639272">
                  <a:extLst>
                    <a:ext uri="{9D8B030D-6E8A-4147-A177-3AD203B41FA5}">
                      <a16:colId xmlns:a16="http://schemas.microsoft.com/office/drawing/2014/main" val="2901736403"/>
                    </a:ext>
                  </a:extLst>
                </a:gridCol>
                <a:gridCol w="1639272">
                  <a:extLst>
                    <a:ext uri="{9D8B030D-6E8A-4147-A177-3AD203B41FA5}">
                      <a16:colId xmlns:a16="http://schemas.microsoft.com/office/drawing/2014/main" val="342029864"/>
                    </a:ext>
                  </a:extLst>
                </a:gridCol>
              </a:tblGrid>
              <a:tr h="407964">
                <a:tc>
                  <a:txBody>
                    <a:bodyPr/>
                    <a:lstStyle/>
                    <a:p>
                      <a:pPr marL="0" marR="0" indent="0" algn="l" defTabSz="1023967" rtl="0" eaLnBrk="1" fontAlgn="auto" hangingPunct="1">
                        <a:lnSpc>
                          <a:spcPct val="100000"/>
                        </a:lnSpc>
                        <a:spcBef>
                          <a:spcPts val="0"/>
                        </a:spcBef>
                        <a:spcAft>
                          <a:spcPts val="0"/>
                        </a:spcAft>
                        <a:buFontTx/>
                        <a:buNone/>
                      </a:pPr>
                      <a:r>
                        <a:rPr sz="850" b="1" i="0" u="none">
                          <a:latin typeface="Roboto Bold"/>
                        </a:rPr>
                        <a:t>Modelo</a:t>
                      </a:r>
                    </a:p>
                  </a:txBody>
                  <a:tcPr marL="9000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85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850" b="1" i="0" u="none">
                          <a:latin typeface="Roboto Bold"/>
                        </a:rPr>
                        <a:t>MH30C-180/78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850" b="1" i="0" u="none">
                          <a:latin typeface="Roboto Bold"/>
                        </a:rPr>
                        <a:t>MH40M-190/94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850" b="1" i="0" u="none">
                          <a:latin typeface="Roboto Bold"/>
                        </a:rPr>
                        <a:t>MH50M-220/110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1728287528"/>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Número de artículo</a:t>
                      </a:r>
                    </a:p>
                  </a:txBody>
                  <a:tcPr marL="9000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8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7147101</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714710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7147165</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67182623"/>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Tensión de alimentación</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V/fase/Hz</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222005227"/>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Fusible</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C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C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C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537767277"/>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Potencia nominal</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kW</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7,9</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966639"/>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Presión de trabajo</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2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0545832"/>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Caudal de agu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l/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7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8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61580673"/>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Caudal máximo de agu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l/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7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1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16142919"/>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Temperatura máxima del agua de entrad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C</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25052954"/>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Presión máxima de entrada de agu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dirty="0">
                          <a:latin typeface="Roboto Light"/>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63504160"/>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Presión mínima de entrada de agu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913896545"/>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Dimensiones del embalaje (LxAnxAl)</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mm</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dirty="0">
                          <a:latin typeface="Roboto Light"/>
                        </a:rPr>
                        <a:t>1010x700x1016 mm</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10x700x1016 mm</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188x700x1020 mm</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47639017"/>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Peso</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kg</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3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2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585595"/>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Nivel de presión sonora LP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dB(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8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7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7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291873079"/>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Nivel de potencia sonora LW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dB(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0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98207276"/>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Impacto de limpiez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kg</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5,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6,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402463774"/>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Tamaño de la boquill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04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05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05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816247340"/>
                  </a:ext>
                </a:extLst>
              </a:tr>
              <a:tr h="209969">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Temperatura máxima del agua (caliente / vapor)</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C</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831828358"/>
                  </a:ext>
                </a:extLst>
              </a:tr>
              <a:tr h="307329">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Consumo de combustible con un aumento de temperatura de 45 °C</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kg/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4,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3079564"/>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Capacidad de calefacción</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kW</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5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6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8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33840132"/>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Depósito de combustible</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3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60548793"/>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Tipo de combustible de la calder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8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Diésel/Biodiése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Diésel/Biodiése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Diésel/Biodiése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9534663"/>
                  </a:ext>
                </a:extLst>
              </a:tr>
              <a:tr h="208818">
                <a:tc>
                  <a:txBody>
                    <a:bodyPr/>
                    <a:lstStyle/>
                    <a:p>
                      <a:pPr marL="0" marR="0" indent="0" algn="l" defTabSz="1023967" rtl="0" eaLnBrk="1" fontAlgn="auto" hangingPunct="1">
                        <a:lnSpc>
                          <a:spcPct val="100000"/>
                        </a:lnSpc>
                        <a:spcBef>
                          <a:spcPts val="0"/>
                        </a:spcBef>
                        <a:spcAft>
                          <a:spcPts val="0"/>
                        </a:spcAft>
                        <a:buFontTx/>
                        <a:buNone/>
                      </a:pPr>
                      <a:r>
                        <a:rPr sz="850" b="0" i="0" u="none">
                          <a:latin typeface="Roboto Light"/>
                        </a:rPr>
                        <a:t>Depósito de detergente</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No aplic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a:latin typeface="Roboto Light"/>
                        </a:rPr>
                        <a:t>No aplic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850" b="0" i="0" u="none" dirty="0">
                          <a:latin typeface="Roboto Light"/>
                        </a:rPr>
                        <a:t>No </a:t>
                      </a:r>
                      <a:r>
                        <a:rPr sz="850" b="0" i="0" u="none" dirty="0" err="1">
                          <a:latin typeface="Roboto Light"/>
                        </a:rPr>
                        <a:t>aplica</a:t>
                      </a:r>
                      <a:endParaRPr sz="850" b="0" i="0" u="none" dirty="0">
                        <a:latin typeface="Roboto Light"/>
                      </a:endParaRP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0720545"/>
                  </a:ext>
                </a:extLst>
              </a:tr>
            </a:tbl>
          </a:graphicData>
        </a:graphic>
      </p:graphicFrame>
      <p:sp>
        <p:nvSpPr>
          <p:cNvPr id="3" name="Pladsholder til tekst 2">
            <a:extLst>
              <a:ext uri="{FF2B5EF4-FFF2-40B4-BE49-F238E27FC236}">
                <a16:creationId xmlns:a16="http://schemas.microsoft.com/office/drawing/2014/main" id="{2B3B6EFA-D4E5-34B0-4367-F42E60D516ED}"/>
              </a:ext>
            </a:extLst>
          </p:cNvPr>
          <p:cNvSpPr>
            <a:spLocks noGrp="1"/>
          </p:cNvSpPr>
          <p:nvPr>
            <p:ph type="body" sz="quarter" idx="14"/>
          </p:nvPr>
        </p:nvSpPr>
        <p:spPr/>
        <p:txBody>
          <a:bodyPr/>
          <a:lstStyle/>
          <a:p>
            <a:r>
              <a:t>Modelos de gama estándar: especificaciones técnicas.</a:t>
            </a:r>
          </a:p>
        </p:txBody>
      </p:sp>
      <p:sp>
        <p:nvSpPr>
          <p:cNvPr id="4" name="Titel 3">
            <a:extLst>
              <a:ext uri="{FF2B5EF4-FFF2-40B4-BE49-F238E27FC236}">
                <a16:creationId xmlns:a16="http://schemas.microsoft.com/office/drawing/2014/main" id="{DECF4FA7-DDBF-E08E-BCB5-C1A91FD1D228}"/>
              </a:ext>
            </a:extLst>
          </p:cNvPr>
          <p:cNvSpPr>
            <a:spLocks noGrp="1"/>
          </p:cNvSpPr>
          <p:nvPr>
            <p:ph type="title"/>
          </p:nvPr>
        </p:nvSpPr>
        <p:spPr/>
        <p:txBody>
          <a:bodyPr/>
          <a:lstStyle/>
          <a:p>
            <a:r>
              <a:t>MH30-50</a:t>
            </a:r>
          </a:p>
        </p:txBody>
      </p:sp>
      <p:sp>
        <p:nvSpPr>
          <p:cNvPr id="5" name="Pladsholder til sidefod 4">
            <a:extLst>
              <a:ext uri="{FF2B5EF4-FFF2-40B4-BE49-F238E27FC236}">
                <a16:creationId xmlns:a16="http://schemas.microsoft.com/office/drawing/2014/main" id="{BB5B001E-2E30-6597-1237-7D048276D576}"/>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CC4AFF28-3522-66AA-9C67-BB03EF3264C4}"/>
              </a:ext>
            </a:extLst>
          </p:cNvPr>
          <p:cNvSpPr>
            <a:spLocks noGrp="1"/>
          </p:cNvSpPr>
          <p:nvPr>
            <p:ph type="sldNum" sz="quarter" idx="17"/>
          </p:nvPr>
        </p:nvSpPr>
        <p:spPr/>
        <p:txBody>
          <a:bodyPr/>
          <a:lstStyle/>
          <a:p>
            <a:fld id="{6C385236-B7BA-4938-9EA6-6DEC8CA653D7}" type="slidenum">
              <a:rPr lang="en-GB" noProof="0" smtClean="0"/>
              <a:pPr/>
              <a:t>47</a:t>
            </a:fld>
            <a:endParaRPr lang="en-GB" noProof="0" dirty="0"/>
          </a:p>
        </p:txBody>
      </p:sp>
    </p:spTree>
    <p:extLst>
      <p:ext uri="{BB962C8B-B14F-4D97-AF65-F5344CB8AC3E}">
        <p14:creationId xmlns:p14="http://schemas.microsoft.com/office/powerpoint/2010/main" val="217395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1E6D2371-EBF1-319B-E7ED-184BDB43E024}"/>
              </a:ext>
            </a:extLst>
          </p:cNvPr>
          <p:cNvGraphicFramePr>
            <a:graphicFrameLocks noGrp="1"/>
          </p:cNvGraphicFramePr>
          <p:nvPr>
            <p:ph sz="quarter" idx="13"/>
            <p:extLst>
              <p:ext uri="{D42A27DB-BD31-4B8C-83A1-F6EECF244321}">
                <p14:modId xmlns:p14="http://schemas.microsoft.com/office/powerpoint/2010/main" val="896934133"/>
              </p:ext>
            </p:extLst>
          </p:nvPr>
        </p:nvGraphicFramePr>
        <p:xfrm>
          <a:off x="482928" y="1300697"/>
          <a:ext cx="8422947" cy="4993800"/>
        </p:xfrm>
        <a:graphic>
          <a:graphicData uri="http://schemas.openxmlformats.org/drawingml/2006/table">
            <a:tbl>
              <a:tblPr firstRow="1" bandRow="1">
                <a:effectLst/>
                <a:tableStyleId>{2D5ABB26-0587-4C30-8999-92F81FD0307C}</a:tableStyleId>
              </a:tblPr>
              <a:tblGrid>
                <a:gridCol w="2564991">
                  <a:extLst>
                    <a:ext uri="{9D8B030D-6E8A-4147-A177-3AD203B41FA5}">
                      <a16:colId xmlns:a16="http://schemas.microsoft.com/office/drawing/2014/main" val="2170945860"/>
                    </a:ext>
                  </a:extLst>
                </a:gridCol>
                <a:gridCol w="1915860">
                  <a:extLst>
                    <a:ext uri="{9D8B030D-6E8A-4147-A177-3AD203B41FA5}">
                      <a16:colId xmlns:a16="http://schemas.microsoft.com/office/drawing/2014/main" val="1236590917"/>
                    </a:ext>
                  </a:extLst>
                </a:gridCol>
                <a:gridCol w="1944767">
                  <a:extLst>
                    <a:ext uri="{9D8B030D-6E8A-4147-A177-3AD203B41FA5}">
                      <a16:colId xmlns:a16="http://schemas.microsoft.com/office/drawing/2014/main" val="920725393"/>
                    </a:ext>
                  </a:extLst>
                </a:gridCol>
                <a:gridCol w="1997329">
                  <a:extLst>
                    <a:ext uri="{9D8B030D-6E8A-4147-A177-3AD203B41FA5}">
                      <a16:colId xmlns:a16="http://schemas.microsoft.com/office/drawing/2014/main" val="2855622807"/>
                    </a:ext>
                  </a:extLst>
                </a:gridCol>
              </a:tblGrid>
              <a:tr h="140827">
                <a:tc>
                  <a:txBody>
                    <a:bodyPr/>
                    <a:lstStyle/>
                    <a:p>
                      <a:pPr marL="0" marR="0" lvl="0" indent="0" algn="l" defTabSz="1023967" rtl="0" eaLnBrk="1" fontAlgn="auto" hangingPunct="1">
                        <a:lnSpc>
                          <a:spcPct val="100000"/>
                        </a:lnSpc>
                        <a:spcBef>
                          <a:spcPts val="0"/>
                        </a:spcBef>
                        <a:spcAft>
                          <a:spcPts val="0"/>
                        </a:spcAft>
                        <a:buFontTx/>
                        <a:buNone/>
                      </a:pPr>
                      <a:r>
                        <a:rPr lang="en-GB" sz="70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0" marR="0" marT="18000" marB="18000">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Roboto Bold"/>
                        </a:rPr>
                        <a:t>MH30C-180/780 PA 400/3/50 EU</a:t>
                      </a:r>
                    </a:p>
                  </a:txBody>
                  <a:tcPr marL="0" marR="0" marT="18000" marB="18000">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Roboto Bold"/>
                        </a:rPr>
                        <a:t>MH40M-190/94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1" i="0" u="none">
                          <a:latin typeface="Roboto Bold"/>
                        </a:rPr>
                        <a:t>MH50M-220/110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3124561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107147101</a:t>
                      </a:r>
                    </a:p>
                  </a:txBody>
                  <a:tcPr marL="0" marR="0" marT="18000" marB="18000">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hangingPunct="1">
                        <a:lnSpc>
                          <a:spcPct val="100000"/>
                        </a:lnSpc>
                        <a:spcBef>
                          <a:spcPts val="0"/>
                        </a:spcBef>
                        <a:spcAft>
                          <a:spcPts val="0"/>
                        </a:spcAft>
                        <a:buFontTx/>
                        <a:buNone/>
                      </a:pPr>
                      <a:r>
                        <a:rPr sz="700" b="0" i="0" u="none">
                          <a:latin typeface="+mn-lt"/>
                        </a:rPr>
                        <a:t>10714710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700" b="0" i="0" u="none">
                          <a:latin typeface="+mn-lt"/>
                        </a:rPr>
                        <a:t>107147165</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69168440"/>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aldera EcoPower™</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25088782"/>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alificación de eficiencia según EUnited (%)</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4</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94613598"/>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Material del cabezal de la bomb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A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NA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29763264"/>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Material de los pistones</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cero inoxidable</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Cerámica integra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Cerámica integra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76901450"/>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Material del cabezal de la bomb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Latón</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2378361"/>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Arranque/parada automáticos</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51690082"/>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arrete de manguer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5560930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oporte para pistola pulverizador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79549702"/>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Gancho para cable giratori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222201312"/>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oporte doble para lanzas</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27988803"/>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ensor de combustible</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639680934"/>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ensor de llam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6179095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ensor de temperatura de gases de escape</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756555343"/>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ámara de la caldera de acero inoxidable</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44102245"/>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Pantalla LCD</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43128765"/>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onexión Bluetooth para el servici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47672488"/>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Diagnóstico y detección de fallos de la máquin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86271905"/>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Almacenamiento de lanza y pistola pulverizador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313274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Monofásic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353859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Trifásic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3931466"/>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1450 rpm</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895461"/>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Depósito de detergente</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55203611"/>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Detergente integrad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89584978"/>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Indicador de mantenimient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07921852"/>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istema de detergente de alta presión</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77120095"/>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Regulación de la presión del agu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31309714"/>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Tanque de ruptura de agu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217346524"/>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Transportable mediante carretilla elevador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82822207"/>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Visor de combustible</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9485729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istema de seguridad por bajo nivel de aceite en la bomb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934351157"/>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Seguridad ante nivel bajo de agua</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2741962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Antical</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700" b="0" i="0" u="none" strike="noStrike" kern="1200" cap="none" spc="0" normalizeH="0" baseline="0" noProof="0" dirty="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10719789"/>
                  </a:ext>
                </a:extLst>
              </a:tr>
              <a:tr h="140827">
                <a:tc>
                  <a:txBody>
                    <a:bodyPr/>
                    <a:lstStyle/>
                    <a:p>
                      <a:pPr marL="0" marR="0" indent="0" algn="l" defTabSz="1023967" rtl="0" eaLnBrk="1" fontAlgn="auto" hangingPunct="1">
                        <a:lnSpc>
                          <a:spcPct val="100000"/>
                        </a:lnSpc>
                        <a:spcBef>
                          <a:spcPts val="0"/>
                        </a:spcBef>
                        <a:spcAft>
                          <a:spcPts val="0"/>
                        </a:spcAft>
                        <a:buFontTx/>
                        <a:buNone/>
                      </a:pPr>
                      <a:r>
                        <a:rPr sz="700" b="0" i="0" u="none">
                          <a:latin typeface="+mn-lt"/>
                        </a:rPr>
                        <a:t>Caja de almacenamiento</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700" b="0" i="0" u="none" dirty="0">
                          <a:latin typeface="+mn-lt"/>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234572337"/>
                  </a:ext>
                </a:extLst>
              </a:tr>
            </a:tbl>
          </a:graphicData>
        </a:graphic>
      </p:graphicFrame>
      <p:sp>
        <p:nvSpPr>
          <p:cNvPr id="5" name="Pladsholder til sidefod 4">
            <a:extLst>
              <a:ext uri="{FF2B5EF4-FFF2-40B4-BE49-F238E27FC236}">
                <a16:creationId xmlns:a16="http://schemas.microsoft.com/office/drawing/2014/main" id="{5D20725B-4C7A-DBAE-EAAF-9104262049A1}"/>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48A775D5-DE6F-335B-45A6-278AC45D535C}"/>
              </a:ext>
            </a:extLst>
          </p:cNvPr>
          <p:cNvSpPr>
            <a:spLocks noGrp="1"/>
          </p:cNvSpPr>
          <p:nvPr>
            <p:ph type="sldNum" sz="quarter" idx="17"/>
          </p:nvPr>
        </p:nvSpPr>
        <p:spPr/>
        <p:txBody>
          <a:bodyPr/>
          <a:lstStyle/>
          <a:p>
            <a:fld id="{6C385236-B7BA-4938-9EA6-6DEC8CA653D7}" type="slidenum">
              <a:rPr lang="en-GB" noProof="0" smtClean="0"/>
              <a:pPr/>
              <a:t>48</a:t>
            </a:fld>
            <a:endParaRPr lang="en-GB" noProof="0" dirty="0"/>
          </a:p>
        </p:txBody>
      </p:sp>
      <p:sp>
        <p:nvSpPr>
          <p:cNvPr id="2" name="Pladsholder til tekst 2">
            <a:extLst>
              <a:ext uri="{FF2B5EF4-FFF2-40B4-BE49-F238E27FC236}">
                <a16:creationId xmlns:a16="http://schemas.microsoft.com/office/drawing/2014/main" id="{A03076AF-7A66-1E77-E5B5-4B250D3B4FE7}"/>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t>Modelos de la gama estándar: Características</a:t>
            </a:r>
          </a:p>
        </p:txBody>
      </p:sp>
      <p:sp>
        <p:nvSpPr>
          <p:cNvPr id="8" name="Titel 3">
            <a:extLst>
              <a:ext uri="{FF2B5EF4-FFF2-40B4-BE49-F238E27FC236}">
                <a16:creationId xmlns:a16="http://schemas.microsoft.com/office/drawing/2014/main" id="{3B445F8E-3BFB-E60C-5A3D-F9D6BCB0F1EF}"/>
              </a:ext>
            </a:extLst>
          </p:cNvPr>
          <p:cNvSpPr txBox="1">
            <a:spLocks/>
          </p:cNvSpPr>
          <p:nvPr/>
        </p:nvSpPr>
        <p:spPr>
          <a:xfrm>
            <a:off x="479425" y="494490"/>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t>MH30-50</a:t>
            </a:r>
          </a:p>
        </p:txBody>
      </p:sp>
    </p:spTree>
    <p:extLst>
      <p:ext uri="{BB962C8B-B14F-4D97-AF65-F5344CB8AC3E}">
        <p14:creationId xmlns:p14="http://schemas.microsoft.com/office/powerpoint/2010/main" val="25754293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a:xfrm>
            <a:off x="1" y="-83762"/>
            <a:ext cx="12191999" cy="6283325"/>
          </a:xfrm>
        </p:spPr>
        <p:txBody>
          <a:bodyPr/>
          <a:lstStyle/>
          <a:p>
            <a:r>
              <a:rPr dirty="0"/>
              <a:t>10</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r>
              <a:t>PAC</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fld id="{6C385236-B7BA-4938-9EA6-6DEC8CA653D7}" type="slidenum">
              <a:rPr lang="en-GB" noProof="0" smtClean="0"/>
              <a:pPr/>
              <a:t>49</a:t>
            </a:fld>
            <a:endParaRPr lang="en-GB" noProof="0" dirty="0"/>
          </a:p>
        </p:txBody>
      </p:sp>
    </p:spTree>
    <p:extLst>
      <p:ext uri="{BB962C8B-B14F-4D97-AF65-F5344CB8AC3E}">
        <p14:creationId xmlns:p14="http://schemas.microsoft.com/office/powerpoint/2010/main" val="43746564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r>
              <a:t>2</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r>
              <a:t>Marca y diseño</a:t>
            </a:r>
          </a:p>
          <a:p>
            <a:endParaRPr lang="en-GB"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fld id="{6C385236-B7BA-4938-9EA6-6DEC8CA653D7}" type="slidenum">
              <a:rPr lang="en-GB" noProof="0" smtClean="0"/>
              <a:pPr/>
              <a:t>5</a:t>
            </a:fld>
            <a:endParaRPr lang="en-GB" noProof="0" dirty="0"/>
          </a:p>
        </p:txBody>
      </p:sp>
    </p:spTree>
    <p:extLst>
      <p:ext uri="{BB962C8B-B14F-4D97-AF65-F5344CB8AC3E}">
        <p14:creationId xmlns:p14="http://schemas.microsoft.com/office/powerpoint/2010/main" val="13171969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233DD26-7880-BA79-B9F3-5043D384DC4F}"/>
              </a:ext>
            </a:extLst>
          </p:cNvPr>
          <p:cNvGraphicFramePr>
            <a:graphicFrameLocks noGrp="1"/>
          </p:cNvGraphicFramePr>
          <p:nvPr>
            <p:ph sz="quarter" idx="13"/>
            <p:extLst>
              <p:ext uri="{D42A27DB-BD31-4B8C-83A1-F6EECF244321}">
                <p14:modId xmlns:p14="http://schemas.microsoft.com/office/powerpoint/2010/main" val="3274089283"/>
              </p:ext>
            </p:extLst>
          </p:nvPr>
        </p:nvGraphicFramePr>
        <p:xfrm>
          <a:off x="480791" y="1417031"/>
          <a:ext cx="10968258" cy="4761282"/>
        </p:xfrm>
        <a:graphic>
          <a:graphicData uri="http://schemas.openxmlformats.org/drawingml/2006/table">
            <a:tbl>
              <a:tblPr firstRow="1" bandRow="1">
                <a:effectLst/>
                <a:tableStyleId>{2D5ABB26-0587-4C30-8999-92F81FD0307C}</a:tableStyleId>
              </a:tblPr>
              <a:tblGrid>
                <a:gridCol w="3014178">
                  <a:extLst>
                    <a:ext uri="{9D8B030D-6E8A-4147-A177-3AD203B41FA5}">
                      <a16:colId xmlns:a16="http://schemas.microsoft.com/office/drawing/2014/main" val="2562612543"/>
                    </a:ext>
                  </a:extLst>
                </a:gridCol>
                <a:gridCol w="1674543">
                  <a:extLst>
                    <a:ext uri="{9D8B030D-6E8A-4147-A177-3AD203B41FA5}">
                      <a16:colId xmlns:a16="http://schemas.microsoft.com/office/drawing/2014/main" val="2963247841"/>
                    </a:ext>
                  </a:extLst>
                </a:gridCol>
                <a:gridCol w="2093179">
                  <a:extLst>
                    <a:ext uri="{9D8B030D-6E8A-4147-A177-3AD203B41FA5}">
                      <a16:colId xmlns:a16="http://schemas.microsoft.com/office/drawing/2014/main" val="116803219"/>
                    </a:ext>
                  </a:extLst>
                </a:gridCol>
                <a:gridCol w="2093179">
                  <a:extLst>
                    <a:ext uri="{9D8B030D-6E8A-4147-A177-3AD203B41FA5}">
                      <a16:colId xmlns:a16="http://schemas.microsoft.com/office/drawing/2014/main" val="2786019681"/>
                    </a:ext>
                  </a:extLst>
                </a:gridCol>
                <a:gridCol w="2093179">
                  <a:extLst>
                    <a:ext uri="{9D8B030D-6E8A-4147-A177-3AD203B41FA5}">
                      <a16:colId xmlns:a16="http://schemas.microsoft.com/office/drawing/2014/main" val="2550236252"/>
                    </a:ext>
                  </a:extLst>
                </a:gridCol>
              </a:tblGrid>
              <a:tr h="416082">
                <a:tc>
                  <a:txBody>
                    <a:bodyPr/>
                    <a:lstStyle/>
                    <a:p>
                      <a:pPr marL="0" marR="0" indent="0" algn="l" defTabSz="1023967" rtl="0" eaLnBrk="1" fontAlgn="auto" hangingPunct="1">
                        <a:lnSpc>
                          <a:spcPct val="100000"/>
                        </a:lnSpc>
                        <a:spcBef>
                          <a:spcPts val="0"/>
                        </a:spcBef>
                        <a:spcAft>
                          <a:spcPts val="0"/>
                        </a:spcAft>
                        <a:buFontTx/>
                        <a:buNone/>
                      </a:pPr>
                      <a:r>
                        <a:rPr sz="950" b="1" i="0" u="none">
                          <a:latin typeface="Roboto Bold"/>
                        </a:rPr>
                        <a:t>Descripción</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35C-180/780 P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35C-145/600 PA 230/1/50 UE</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35C-145/600 PAX 230/1/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Número de artículo</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3</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53</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55</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rgo 2000 estándar con función giratori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solidFill>
                            <a:srgbClr val="000000"/>
                          </a:solidFill>
                          <a:latin typeface="Roboto Light"/>
                        </a:rPr>
                        <a:t>Manguera de alta presión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solidFill>
                            <a:srgbClr val="000000"/>
                          </a:solidFill>
                          <a:latin typeface="Roboto Light"/>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00,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12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Carrete de manguer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ntrada de agua del filtro 5000 mm² 50 µm MH Azul</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indent="0" algn="l" defTabSz="1023967" rtl="0" eaLnBrk="1" fontAlgn="ctr" hangingPunct="1">
                        <a:lnSpc>
                          <a:spcPct val="100000"/>
                        </a:lnSpc>
                        <a:spcBef>
                          <a:spcPts val="0"/>
                        </a:spcBef>
                        <a:spcAft>
                          <a:spcPts val="0"/>
                        </a:spcAft>
                        <a:buFontTx/>
                        <a:buNone/>
                      </a:pPr>
                      <a:r>
                        <a:rPr sz="950" b="0" i="0" u="none">
                          <a:latin typeface="Roboto Light"/>
                        </a:rPr>
                        <a:t>Acoplamiento de entrada</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ctr" hangingPunct="1">
                        <a:lnSpc>
                          <a:spcPct val="100000"/>
                        </a:lnSpc>
                        <a:spcBef>
                          <a:spcPts val="0"/>
                        </a:spcBef>
                        <a:spcAft>
                          <a:spcPts val="0"/>
                        </a:spcAft>
                        <a:buFontTx/>
                        <a:buNone/>
                      </a:pPr>
                      <a:r>
                        <a:rPr sz="950" b="0" i="0" u="none">
                          <a:latin typeface="Roboto Light"/>
                        </a:rPr>
                        <a:t>61369</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dirty="0">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latinLnBrk="0" hangingPunct="1">
                        <a:lnSpc>
                          <a:spcPct val="100000"/>
                        </a:lnSpc>
                        <a:spcBef>
                          <a:spcPts val="0"/>
                        </a:spcBef>
                        <a:spcAft>
                          <a:spcPts val="0"/>
                        </a:spcAft>
                        <a:buClrTx/>
                        <a:buSzTx/>
                        <a:buFontTx/>
                        <a:buNone/>
                        <a:tabLst/>
                        <a:defRPr/>
                      </a:pPr>
                      <a:r>
                        <a:rPr sz="950" b="1" i="0" u="none">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dirty="0">
                          <a:solidFill>
                            <a:srgbClr val="38AFD9"/>
                          </a:solidFill>
                          <a:latin typeface="Segoe MDL2 Assets"/>
                        </a:rPr>
                        <a:t></a:t>
                      </a:r>
                      <a:endParaRPr lang="en-GB"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5FC33920-AF26-6288-0D83-5645ECD16855}"/>
              </a:ext>
            </a:extLst>
          </p:cNvPr>
          <p:cNvSpPr>
            <a:spLocks noGrp="1"/>
          </p:cNvSpPr>
          <p:nvPr>
            <p:ph type="body" sz="quarter" idx="14"/>
          </p:nvPr>
        </p:nvSpPr>
        <p:spPr/>
        <p:txBody>
          <a:bodyPr/>
          <a:lstStyle/>
          <a:p>
            <a:r>
              <a:t>Accesorios incluidos de serie</a:t>
            </a:r>
          </a:p>
        </p:txBody>
      </p:sp>
      <p:sp>
        <p:nvSpPr>
          <p:cNvPr id="4" name="Titel 3">
            <a:extLst>
              <a:ext uri="{FF2B5EF4-FFF2-40B4-BE49-F238E27FC236}">
                <a16:creationId xmlns:a16="http://schemas.microsoft.com/office/drawing/2014/main" id="{4CF8ED2B-8DAE-7B2F-B85D-03D065CB1AE9}"/>
              </a:ext>
            </a:extLst>
          </p:cNvPr>
          <p:cNvSpPr>
            <a:spLocks noGrp="1"/>
          </p:cNvSpPr>
          <p:nvPr>
            <p:ph type="title"/>
          </p:nvPr>
        </p:nvSpPr>
        <p:spPr/>
        <p:txBody>
          <a:bodyPr/>
          <a:lstStyle/>
          <a:p>
            <a:r>
              <a:t>MH35</a:t>
            </a:r>
          </a:p>
        </p:txBody>
      </p:sp>
      <p:sp>
        <p:nvSpPr>
          <p:cNvPr id="5" name="Pladsholder til sidefod 4">
            <a:extLst>
              <a:ext uri="{FF2B5EF4-FFF2-40B4-BE49-F238E27FC236}">
                <a16:creationId xmlns:a16="http://schemas.microsoft.com/office/drawing/2014/main" id="{15DCC9BE-52A6-13C6-2A52-75C8E6B44BD9}"/>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1BE1A509-8DE8-FB87-6B40-707C57C7440B}"/>
              </a:ext>
            </a:extLst>
          </p:cNvPr>
          <p:cNvSpPr>
            <a:spLocks noGrp="1"/>
          </p:cNvSpPr>
          <p:nvPr>
            <p:ph type="sldNum" sz="quarter" idx="17"/>
          </p:nvPr>
        </p:nvSpPr>
        <p:spPr/>
        <p:txBody>
          <a:bodyPr/>
          <a:lstStyle/>
          <a:p>
            <a:fld id="{6C385236-B7BA-4938-9EA6-6DEC8CA653D7}" type="slidenum">
              <a:rPr lang="en-GB" noProof="0" smtClean="0"/>
              <a:pPr/>
              <a:t>50</a:t>
            </a:fld>
            <a:endParaRPr lang="en-GB" noProof="0" dirty="0"/>
          </a:p>
        </p:txBody>
      </p:sp>
    </p:spTree>
    <p:extLst>
      <p:ext uri="{BB962C8B-B14F-4D97-AF65-F5344CB8AC3E}">
        <p14:creationId xmlns:p14="http://schemas.microsoft.com/office/powerpoint/2010/main" val="425902506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CE2E4-47B1-39DB-F520-9FD692F1CEF1}"/>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6655DFB9-67E1-3D74-0129-2545F7073B85}"/>
              </a:ext>
            </a:extLst>
          </p:cNvPr>
          <p:cNvGraphicFramePr>
            <a:graphicFrameLocks noGrp="1"/>
          </p:cNvGraphicFramePr>
          <p:nvPr>
            <p:ph sz="quarter" idx="13"/>
            <p:extLst>
              <p:ext uri="{D42A27DB-BD31-4B8C-83A1-F6EECF244321}">
                <p14:modId xmlns:p14="http://schemas.microsoft.com/office/powerpoint/2010/main" val="2781034520"/>
              </p:ext>
            </p:extLst>
          </p:nvPr>
        </p:nvGraphicFramePr>
        <p:xfrm>
          <a:off x="481377" y="1250333"/>
          <a:ext cx="8862649" cy="4808777"/>
        </p:xfrm>
        <a:graphic>
          <a:graphicData uri="http://schemas.openxmlformats.org/drawingml/2006/table">
            <a:tbl>
              <a:tblPr firstRow="1" bandRow="1">
                <a:effectLst/>
                <a:tableStyleId>{2D5ABB26-0587-4C30-8999-92F81FD0307C}</a:tableStyleId>
              </a:tblPr>
              <a:tblGrid>
                <a:gridCol w="3323493">
                  <a:extLst>
                    <a:ext uri="{9D8B030D-6E8A-4147-A177-3AD203B41FA5}">
                      <a16:colId xmlns:a16="http://schemas.microsoft.com/office/drawing/2014/main" val="2562612543"/>
                    </a:ext>
                  </a:extLst>
                </a:gridCol>
                <a:gridCol w="1384789">
                  <a:extLst>
                    <a:ext uri="{9D8B030D-6E8A-4147-A177-3AD203B41FA5}">
                      <a16:colId xmlns:a16="http://schemas.microsoft.com/office/drawing/2014/main" val="2963247841"/>
                    </a:ext>
                  </a:extLst>
                </a:gridCol>
                <a:gridCol w="1384789">
                  <a:extLst>
                    <a:ext uri="{9D8B030D-6E8A-4147-A177-3AD203B41FA5}">
                      <a16:colId xmlns:a16="http://schemas.microsoft.com/office/drawing/2014/main" val="3180210459"/>
                    </a:ext>
                  </a:extLst>
                </a:gridCol>
                <a:gridCol w="1384789">
                  <a:extLst>
                    <a:ext uri="{9D8B030D-6E8A-4147-A177-3AD203B41FA5}">
                      <a16:colId xmlns:a16="http://schemas.microsoft.com/office/drawing/2014/main" val="2359044262"/>
                    </a:ext>
                  </a:extLst>
                </a:gridCol>
                <a:gridCol w="1384789">
                  <a:extLst>
                    <a:ext uri="{9D8B030D-6E8A-4147-A177-3AD203B41FA5}">
                      <a16:colId xmlns:a16="http://schemas.microsoft.com/office/drawing/2014/main" val="175029464"/>
                    </a:ext>
                  </a:extLst>
                </a:gridCol>
              </a:tblGrid>
              <a:tr h="463577">
                <a:tc>
                  <a:txBody>
                    <a:bodyPr/>
                    <a:lstStyle/>
                    <a:p>
                      <a:pPr marL="0" marR="0" indent="0" algn="l" defTabSz="1023967" rtl="0" eaLnBrk="1" fontAlgn="auto" hangingPunct="1">
                        <a:lnSpc>
                          <a:spcPct val="100000"/>
                        </a:lnSpc>
                        <a:spcBef>
                          <a:spcPts val="0"/>
                        </a:spcBef>
                        <a:spcAft>
                          <a:spcPts val="0"/>
                        </a:spcAft>
                        <a:buFontTx/>
                        <a:buNone/>
                      </a:pPr>
                      <a:r>
                        <a:rPr sz="950" b="1" i="0" u="none" dirty="0" err="1">
                          <a:latin typeface="Roboto Bold"/>
                        </a:rPr>
                        <a:t>Descripción</a:t>
                      </a:r>
                      <a:endParaRPr sz="950" b="1" i="0" u="none" dirty="0">
                        <a:latin typeface="Roboto Bold"/>
                      </a:endParaRP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45M-200/960 F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45M-200/960 FAX 400/3/50 UE</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45M-200/960 P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Número de artículo</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4</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5</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6</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rgo 2000 estándar con función giratori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latinLnBrk="0" hangingPunct="1">
                        <a:lnSpc>
                          <a:spcPct val="100000"/>
                        </a:lnSpc>
                        <a:spcBef>
                          <a:spcPts val="0"/>
                        </a:spcBef>
                        <a:spcAft>
                          <a:spcPts val="0"/>
                        </a:spcAft>
                        <a:buClrTx/>
                        <a:buSzTx/>
                        <a:buFontTx/>
                        <a:buNone/>
                        <a:tabLst/>
                        <a:defRPr/>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solidFill>
                            <a:srgbClr val="000000"/>
                          </a:solidFill>
                          <a:latin typeface="Roboto Light"/>
                        </a:rPr>
                        <a:t>Manguera de alta presión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solidFill>
                            <a:srgbClr val="000000"/>
                          </a:solidFill>
                          <a:latin typeface="Roboto Light"/>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00,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12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Carrete de manguer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ntrada de agua del filtro 5000 mm² 50 µm MH Azul</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indent="0" algn="l" defTabSz="1023967" rtl="0" eaLnBrk="1" fontAlgn="ctr" hangingPunct="1">
                        <a:lnSpc>
                          <a:spcPct val="100000"/>
                        </a:lnSpc>
                        <a:spcBef>
                          <a:spcPts val="0"/>
                        </a:spcBef>
                        <a:spcAft>
                          <a:spcPts val="0"/>
                        </a:spcAft>
                        <a:buFontTx/>
                        <a:buNone/>
                      </a:pPr>
                      <a:r>
                        <a:rPr sz="950" b="0" i="0" u="none">
                          <a:latin typeface="Roboto Light"/>
                        </a:rPr>
                        <a:t>Acoplamiento de entrada</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ctr" hangingPunct="1">
                        <a:lnSpc>
                          <a:spcPct val="100000"/>
                        </a:lnSpc>
                        <a:spcBef>
                          <a:spcPts val="0"/>
                        </a:spcBef>
                        <a:spcAft>
                          <a:spcPts val="0"/>
                        </a:spcAft>
                        <a:buFontTx/>
                        <a:buNone/>
                      </a:pPr>
                      <a:r>
                        <a:rPr sz="950" b="0" i="0" u="none">
                          <a:latin typeface="Roboto Light"/>
                        </a:rPr>
                        <a:t>61369</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dirty="0">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dirty="0">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1" i="0" u="none" dirty="0">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4CEC7100-5EB7-0CD4-ED61-6A4E89E55906}"/>
              </a:ext>
            </a:extLst>
          </p:cNvPr>
          <p:cNvSpPr>
            <a:spLocks noGrp="1"/>
          </p:cNvSpPr>
          <p:nvPr>
            <p:ph type="body" sz="quarter" idx="14"/>
          </p:nvPr>
        </p:nvSpPr>
        <p:spPr/>
        <p:txBody>
          <a:bodyPr/>
          <a:lstStyle/>
          <a:p>
            <a:r>
              <a:t>Accesorios incluidos de serie</a:t>
            </a:r>
          </a:p>
        </p:txBody>
      </p:sp>
      <p:sp>
        <p:nvSpPr>
          <p:cNvPr id="4" name="Titel 3">
            <a:extLst>
              <a:ext uri="{FF2B5EF4-FFF2-40B4-BE49-F238E27FC236}">
                <a16:creationId xmlns:a16="http://schemas.microsoft.com/office/drawing/2014/main" id="{C396DB19-B30A-681E-C8A5-5EDC2106D396}"/>
              </a:ext>
            </a:extLst>
          </p:cNvPr>
          <p:cNvSpPr>
            <a:spLocks noGrp="1"/>
          </p:cNvSpPr>
          <p:nvPr>
            <p:ph type="title"/>
          </p:nvPr>
        </p:nvSpPr>
        <p:spPr/>
        <p:txBody>
          <a:bodyPr/>
          <a:lstStyle/>
          <a:p>
            <a:r>
              <a:t>MH45</a:t>
            </a:r>
          </a:p>
        </p:txBody>
      </p:sp>
      <p:sp>
        <p:nvSpPr>
          <p:cNvPr id="5" name="Pladsholder til sidefod 4">
            <a:extLst>
              <a:ext uri="{FF2B5EF4-FFF2-40B4-BE49-F238E27FC236}">
                <a16:creationId xmlns:a16="http://schemas.microsoft.com/office/drawing/2014/main" id="{0F17205D-F2F9-BDB7-D5A1-D42F75385239}"/>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CB4BD703-5048-1C33-D38B-7928D920DBA1}"/>
              </a:ext>
            </a:extLst>
          </p:cNvPr>
          <p:cNvSpPr>
            <a:spLocks noGrp="1"/>
          </p:cNvSpPr>
          <p:nvPr>
            <p:ph type="sldNum" sz="quarter" idx="17"/>
          </p:nvPr>
        </p:nvSpPr>
        <p:spPr/>
        <p:txBody>
          <a:bodyPr/>
          <a:lstStyle/>
          <a:p>
            <a:fld id="{6C385236-B7BA-4938-9EA6-6DEC8CA653D7}" type="slidenum">
              <a:rPr lang="en-GB" noProof="0" smtClean="0"/>
              <a:pPr/>
              <a:t>51</a:t>
            </a:fld>
            <a:endParaRPr lang="en-GB" noProof="0" dirty="0"/>
          </a:p>
        </p:txBody>
      </p:sp>
    </p:spTree>
    <p:extLst>
      <p:ext uri="{BB962C8B-B14F-4D97-AF65-F5344CB8AC3E}">
        <p14:creationId xmlns:p14="http://schemas.microsoft.com/office/powerpoint/2010/main" val="66854266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65BED-297A-7499-91DF-E4755C76A5EF}"/>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5CB429C-12C3-27BA-5245-7F3F2B23DE1C}"/>
              </a:ext>
            </a:extLst>
          </p:cNvPr>
          <p:cNvGraphicFramePr>
            <a:graphicFrameLocks noGrp="1"/>
          </p:cNvGraphicFramePr>
          <p:nvPr>
            <p:ph sz="quarter" idx="13"/>
            <p:extLst>
              <p:ext uri="{D42A27DB-BD31-4B8C-83A1-F6EECF244321}">
                <p14:modId xmlns:p14="http://schemas.microsoft.com/office/powerpoint/2010/main" val="3293389707"/>
              </p:ext>
            </p:extLst>
          </p:nvPr>
        </p:nvGraphicFramePr>
        <p:xfrm>
          <a:off x="473568" y="1226028"/>
          <a:ext cx="8822830" cy="4886682"/>
        </p:xfrm>
        <a:graphic>
          <a:graphicData uri="http://schemas.openxmlformats.org/drawingml/2006/table">
            <a:tbl>
              <a:tblPr firstRow="1" bandRow="1">
                <a:effectLst/>
                <a:tableStyleId>{2D5ABB26-0587-4C30-8999-92F81FD0307C}</a:tableStyleId>
              </a:tblPr>
              <a:tblGrid>
                <a:gridCol w="3144771">
                  <a:extLst>
                    <a:ext uri="{9D8B030D-6E8A-4147-A177-3AD203B41FA5}">
                      <a16:colId xmlns:a16="http://schemas.microsoft.com/office/drawing/2014/main" val="2562612543"/>
                    </a:ext>
                  </a:extLst>
                </a:gridCol>
                <a:gridCol w="1091935">
                  <a:extLst>
                    <a:ext uri="{9D8B030D-6E8A-4147-A177-3AD203B41FA5}">
                      <a16:colId xmlns:a16="http://schemas.microsoft.com/office/drawing/2014/main" val="2963247841"/>
                    </a:ext>
                  </a:extLst>
                </a:gridCol>
                <a:gridCol w="1528708">
                  <a:extLst>
                    <a:ext uri="{9D8B030D-6E8A-4147-A177-3AD203B41FA5}">
                      <a16:colId xmlns:a16="http://schemas.microsoft.com/office/drawing/2014/main" val="3802479974"/>
                    </a:ext>
                  </a:extLst>
                </a:gridCol>
                <a:gridCol w="1528708">
                  <a:extLst>
                    <a:ext uri="{9D8B030D-6E8A-4147-A177-3AD203B41FA5}">
                      <a16:colId xmlns:a16="http://schemas.microsoft.com/office/drawing/2014/main" val="2419316242"/>
                    </a:ext>
                  </a:extLst>
                </a:gridCol>
                <a:gridCol w="1528708">
                  <a:extLst>
                    <a:ext uri="{9D8B030D-6E8A-4147-A177-3AD203B41FA5}">
                      <a16:colId xmlns:a16="http://schemas.microsoft.com/office/drawing/2014/main" val="3549957435"/>
                    </a:ext>
                  </a:extLst>
                </a:gridCol>
              </a:tblGrid>
              <a:tr h="416082">
                <a:tc>
                  <a:txBody>
                    <a:bodyPr/>
                    <a:lstStyle/>
                    <a:p>
                      <a:pPr marL="0" marR="0" indent="0" algn="l" defTabSz="1023967" rtl="0" eaLnBrk="1" fontAlgn="auto" hangingPunct="1">
                        <a:lnSpc>
                          <a:spcPct val="100000"/>
                        </a:lnSpc>
                        <a:spcBef>
                          <a:spcPts val="0"/>
                        </a:spcBef>
                        <a:spcAft>
                          <a:spcPts val="0"/>
                        </a:spcAft>
                        <a:buFontTx/>
                        <a:buNone/>
                      </a:pPr>
                      <a:r>
                        <a:rPr sz="950" b="1" i="0" u="none">
                          <a:latin typeface="Roboto Bold"/>
                        </a:rPr>
                        <a:t>Descripción</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55M-220/1100 F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55M-220/1100 F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latin typeface="Roboto Bold"/>
                        </a:rPr>
                        <a:t>MH55M-220/1100 P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Número de artículo</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7</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8</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0" i="0" u="none">
                          <a:solidFill>
                            <a:srgbClr val="28313F"/>
                          </a:solidFill>
                          <a:latin typeface="Roboto Light"/>
                        </a:rPr>
                        <a:t>107147109</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rgo 2000 estándar con función giratori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solidFill>
                            <a:srgbClr val="000000"/>
                          </a:solidFill>
                          <a:latin typeface="Roboto Light"/>
                        </a:rPr>
                        <a:t>Manguera de alta presión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solidFill>
                            <a:srgbClr val="000000"/>
                          </a:solidFill>
                          <a:latin typeface="Roboto Light"/>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Manguera de alta presión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00,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Lanza Tornado 112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Carrete de manguer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Boquilla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indent="0" algn="l" defTabSz="1023967" rtl="0" eaLnBrk="1" fontAlgn="auto" hangingPunct="1">
                        <a:lnSpc>
                          <a:spcPct val="100000"/>
                        </a:lnSpc>
                        <a:spcBef>
                          <a:spcPts val="0"/>
                        </a:spcBef>
                        <a:spcAft>
                          <a:spcPts val="0"/>
                        </a:spcAft>
                        <a:buFontTx/>
                        <a:buNone/>
                      </a:pPr>
                      <a:r>
                        <a:rPr sz="950" b="0" i="0" u="none">
                          <a:latin typeface="Roboto Light"/>
                        </a:rPr>
                        <a:t>Entrada de agua del filtro 5000 mm² 50 µm MH Azul</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950" b="0" i="0" u="none">
                          <a:latin typeface="Roboto Light"/>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950" b="1" i="0" u="none">
                          <a:solidFill>
                            <a:srgbClr val="38AFD9"/>
                          </a:solidFill>
                          <a:latin typeface="Segoe MDL2 Assets"/>
                        </a:rPr>
                        <a:t></a:t>
                      </a:r>
                      <a:endParaRPr lang="en-GB"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indent="0" algn="l" defTabSz="1023967" rtl="0" eaLnBrk="1" fontAlgn="ctr" hangingPunct="1">
                        <a:lnSpc>
                          <a:spcPct val="100000"/>
                        </a:lnSpc>
                        <a:spcBef>
                          <a:spcPts val="0"/>
                        </a:spcBef>
                        <a:spcAft>
                          <a:spcPts val="0"/>
                        </a:spcAft>
                        <a:buFontTx/>
                        <a:buNone/>
                      </a:pPr>
                      <a:r>
                        <a:rPr sz="950" b="0" i="0" u="none">
                          <a:latin typeface="Roboto Light"/>
                        </a:rPr>
                        <a:t>Acoplamiento de entrada</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ctr" hangingPunct="1">
                        <a:lnSpc>
                          <a:spcPct val="100000"/>
                        </a:lnSpc>
                        <a:spcBef>
                          <a:spcPts val="0"/>
                        </a:spcBef>
                        <a:spcAft>
                          <a:spcPts val="0"/>
                        </a:spcAft>
                        <a:buFontTx/>
                        <a:buNone/>
                      </a:pPr>
                      <a:r>
                        <a:rPr sz="950" b="0" i="0" u="none">
                          <a:latin typeface="Roboto Light"/>
                        </a:rPr>
                        <a:t>61369</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ctr" hangingPunct="1">
                        <a:lnSpc>
                          <a:spcPct val="100000"/>
                        </a:lnSpc>
                        <a:spcBef>
                          <a:spcPts val="0"/>
                        </a:spcBef>
                        <a:spcAft>
                          <a:spcPts val="0"/>
                        </a:spcAft>
                        <a:buFontTx/>
                        <a:buNone/>
                      </a:pPr>
                      <a:r>
                        <a:rPr sz="950" b="1" i="0" u="none" dirty="0">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1" i="0" u="none" dirty="0">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950" b="1" i="0" u="none" dirty="0">
                          <a:solidFill>
                            <a:srgbClr val="38AFD9"/>
                          </a:solidFill>
                          <a:latin typeface="Segoe MDL2 Assets"/>
                        </a:rPr>
                        <a:t></a:t>
                      </a:r>
                      <a:endParaRPr lang="en-GB"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ECD8A87F-1F10-A572-76A9-682A8957D2FA}"/>
              </a:ext>
            </a:extLst>
          </p:cNvPr>
          <p:cNvSpPr>
            <a:spLocks noGrp="1"/>
          </p:cNvSpPr>
          <p:nvPr>
            <p:ph type="body" sz="quarter" idx="14"/>
          </p:nvPr>
        </p:nvSpPr>
        <p:spPr/>
        <p:txBody>
          <a:bodyPr/>
          <a:lstStyle/>
          <a:p>
            <a:r>
              <a:t>Accesorios incluidos de serie</a:t>
            </a:r>
          </a:p>
        </p:txBody>
      </p:sp>
      <p:sp>
        <p:nvSpPr>
          <p:cNvPr id="4" name="Titel 3">
            <a:extLst>
              <a:ext uri="{FF2B5EF4-FFF2-40B4-BE49-F238E27FC236}">
                <a16:creationId xmlns:a16="http://schemas.microsoft.com/office/drawing/2014/main" id="{3947A105-1D4C-5790-1615-A37759AA5BC1}"/>
              </a:ext>
            </a:extLst>
          </p:cNvPr>
          <p:cNvSpPr>
            <a:spLocks noGrp="1"/>
          </p:cNvSpPr>
          <p:nvPr>
            <p:ph type="title"/>
          </p:nvPr>
        </p:nvSpPr>
        <p:spPr/>
        <p:txBody>
          <a:bodyPr/>
          <a:lstStyle/>
          <a:p>
            <a:r>
              <a:t>MH55</a:t>
            </a:r>
          </a:p>
        </p:txBody>
      </p:sp>
      <p:sp>
        <p:nvSpPr>
          <p:cNvPr id="5" name="Pladsholder til sidefod 4">
            <a:extLst>
              <a:ext uri="{FF2B5EF4-FFF2-40B4-BE49-F238E27FC236}">
                <a16:creationId xmlns:a16="http://schemas.microsoft.com/office/drawing/2014/main" id="{233F39B7-A11E-E3DA-1DAC-786663352B94}"/>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97999A7C-5F52-7738-77D6-568175935F99}"/>
              </a:ext>
            </a:extLst>
          </p:cNvPr>
          <p:cNvSpPr>
            <a:spLocks noGrp="1"/>
          </p:cNvSpPr>
          <p:nvPr>
            <p:ph type="sldNum" sz="quarter" idx="17"/>
          </p:nvPr>
        </p:nvSpPr>
        <p:spPr/>
        <p:txBody>
          <a:bodyPr/>
          <a:lstStyle/>
          <a:p>
            <a:fld id="{6C385236-B7BA-4938-9EA6-6DEC8CA653D7}" type="slidenum">
              <a:rPr lang="en-GB" noProof="0" smtClean="0"/>
              <a:pPr/>
              <a:t>52</a:t>
            </a:fld>
            <a:endParaRPr lang="en-GB" noProof="0" dirty="0"/>
          </a:p>
        </p:txBody>
      </p:sp>
    </p:spTree>
    <p:extLst>
      <p:ext uri="{BB962C8B-B14F-4D97-AF65-F5344CB8AC3E}">
        <p14:creationId xmlns:p14="http://schemas.microsoft.com/office/powerpoint/2010/main" val="25737307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F71EF-834B-F311-2B42-B57D6B73B7DA}"/>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D3B3CCB1-3466-9E7A-8EB7-D15CE0CFCA0E}"/>
              </a:ext>
            </a:extLst>
          </p:cNvPr>
          <p:cNvGraphicFramePr>
            <a:graphicFrameLocks noGrp="1"/>
          </p:cNvGraphicFramePr>
          <p:nvPr>
            <p:ph sz="quarter" idx="13"/>
            <p:extLst>
              <p:ext uri="{D42A27DB-BD31-4B8C-83A1-F6EECF244321}">
                <p14:modId xmlns:p14="http://schemas.microsoft.com/office/powerpoint/2010/main" val="1943101117"/>
              </p:ext>
            </p:extLst>
          </p:nvPr>
        </p:nvGraphicFramePr>
        <p:xfrm>
          <a:off x="473569" y="1250333"/>
          <a:ext cx="10775456" cy="4871393"/>
        </p:xfrm>
        <a:graphic>
          <a:graphicData uri="http://schemas.openxmlformats.org/drawingml/2006/table">
            <a:tbl>
              <a:tblPr firstRow="1" bandRow="1">
                <a:effectLst/>
                <a:tableStyleId>{2D5ABB26-0587-4C30-8999-92F81FD0307C}</a:tableStyleId>
              </a:tblPr>
              <a:tblGrid>
                <a:gridCol w="3399637">
                  <a:extLst>
                    <a:ext uri="{9D8B030D-6E8A-4147-A177-3AD203B41FA5}">
                      <a16:colId xmlns:a16="http://schemas.microsoft.com/office/drawing/2014/main" val="3164711004"/>
                    </a:ext>
                  </a:extLst>
                </a:gridCol>
                <a:gridCol w="1397344">
                  <a:extLst>
                    <a:ext uri="{9D8B030D-6E8A-4147-A177-3AD203B41FA5}">
                      <a16:colId xmlns:a16="http://schemas.microsoft.com/office/drawing/2014/main" val="3783390597"/>
                    </a:ext>
                  </a:extLst>
                </a:gridCol>
                <a:gridCol w="1968211">
                  <a:extLst>
                    <a:ext uri="{9D8B030D-6E8A-4147-A177-3AD203B41FA5}">
                      <a16:colId xmlns:a16="http://schemas.microsoft.com/office/drawing/2014/main" val="3323522801"/>
                    </a:ext>
                  </a:extLst>
                </a:gridCol>
                <a:gridCol w="1976729">
                  <a:extLst>
                    <a:ext uri="{9D8B030D-6E8A-4147-A177-3AD203B41FA5}">
                      <a16:colId xmlns:a16="http://schemas.microsoft.com/office/drawing/2014/main" val="3573528091"/>
                    </a:ext>
                  </a:extLst>
                </a:gridCol>
                <a:gridCol w="2033535">
                  <a:extLst>
                    <a:ext uri="{9D8B030D-6E8A-4147-A177-3AD203B41FA5}">
                      <a16:colId xmlns:a16="http://schemas.microsoft.com/office/drawing/2014/main" val="2621582428"/>
                    </a:ext>
                  </a:extLst>
                </a:gridCol>
              </a:tblGrid>
              <a:tr h="400883">
                <a:tc>
                  <a:txBody>
                    <a:bodyPr/>
                    <a:lstStyle/>
                    <a:p>
                      <a:pPr marL="0" marR="0" indent="0" algn="l" defTabSz="1023967" rtl="0" eaLnBrk="1" fontAlgn="auto" hangingPunct="1">
                        <a:lnSpc>
                          <a:spcPct val="100000"/>
                        </a:lnSpc>
                        <a:spcBef>
                          <a:spcPts val="0"/>
                        </a:spcBef>
                        <a:spcAft>
                          <a:spcPts val="0"/>
                        </a:spcAft>
                        <a:buFontTx/>
                        <a:buNone/>
                      </a:pPr>
                      <a:r>
                        <a:rPr sz="1100" b="1" i="0" u="none">
                          <a:latin typeface="Roboto Bold"/>
                        </a:rPr>
                        <a:t>Descripción</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1100" b="1" i="0" u="none" strike="noStrike" kern="1200" cap="none" spc="0" normalizeH="0" baseline="0" noProof="0" dirty="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latin typeface="Roboto Bold"/>
                        </a:rPr>
                        <a:t>MH30C-180/78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latin typeface="Roboto Bold"/>
                        </a:rPr>
                        <a:t>MH40M-190/94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dirty="0">
                          <a:latin typeface="Roboto Bold"/>
                        </a:rPr>
                        <a:t>MH50M-220/110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3097162071"/>
                  </a:ext>
                </a:extLst>
              </a:tr>
              <a:tr h="255011">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ctr" hangingPunct="1">
                        <a:lnSpc>
                          <a:spcPct val="100000"/>
                        </a:lnSpc>
                        <a:spcBef>
                          <a:spcPts val="0"/>
                        </a:spcBef>
                        <a:spcAft>
                          <a:spcPts val="0"/>
                        </a:spcAft>
                        <a:buFontTx/>
                        <a:buNone/>
                      </a:pPr>
                      <a:r>
                        <a:rPr sz="1100" b="0" i="0" u="none">
                          <a:solidFill>
                            <a:srgbClr val="28313F"/>
                          </a:solidFill>
                          <a:latin typeface="Roboto Light"/>
                        </a:rPr>
                        <a:t>Número de artículo</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1100" b="0" i="0" u="none">
                          <a:solidFill>
                            <a:srgbClr val="28313F"/>
                          </a:solidFill>
                          <a:latin typeface="Roboto Light"/>
                        </a:rPr>
                        <a:t>107147101</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1100" b="0" i="0" u="none">
                          <a:solidFill>
                            <a:srgbClr val="28313F"/>
                          </a:solidFill>
                          <a:latin typeface="Roboto Light"/>
                        </a:rPr>
                        <a:t>107147102</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ctr" hangingPunct="1">
                        <a:lnSpc>
                          <a:spcPct val="100000"/>
                        </a:lnSpc>
                        <a:spcBef>
                          <a:spcPts val="0"/>
                        </a:spcBef>
                        <a:spcAft>
                          <a:spcPts val="0"/>
                        </a:spcAft>
                        <a:buFontTx/>
                        <a:buNone/>
                      </a:pPr>
                      <a:r>
                        <a:rPr sz="1100" b="0" i="0" u="none">
                          <a:latin typeface="Roboto Light"/>
                        </a:rPr>
                        <a:t>107147165</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211365850"/>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Ergo 2000 estándar con función giratori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57</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69199196"/>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solidFill>
                            <a:srgbClr val="000000"/>
                          </a:solidFill>
                          <a:latin typeface="Roboto Light"/>
                        </a:rPr>
                        <a:t>Manguera de alta presión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66</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110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85873125"/>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Manguera de alta presión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08329495"/>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Manguera de alta presión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23354615"/>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MANGUERA DE ALTA PRESIÓN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55088906"/>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Manguera de alta presión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97646425"/>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Lanza universal 94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9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609350311"/>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Lanza universal 108 sin boquilla</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640478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627122176"/>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Boquilla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716271129"/>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Boquilla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59026472"/>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Boquilla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94603034"/>
                  </a:ext>
                </a:extLst>
              </a:tr>
              <a:tr h="291155">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Boquilla 06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111974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n-GB" sz="1100" b="1" i="0" u="none" strike="noStrike" kern="1200" cap="none" spc="0" normalizeH="0" baseline="0" noProof="0" dirty="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93456208"/>
                  </a:ext>
                </a:extLst>
              </a:tr>
              <a:tr h="420018">
                <a:tc>
                  <a:txBody>
                    <a:bodyPr/>
                    <a:lstStyle/>
                    <a:p>
                      <a:pPr marL="0" marR="0" indent="0" algn="l" defTabSz="1023967" rtl="0" eaLnBrk="1" fontAlgn="auto" hangingPunct="1">
                        <a:lnSpc>
                          <a:spcPct val="100000"/>
                        </a:lnSpc>
                        <a:spcBef>
                          <a:spcPts val="0"/>
                        </a:spcBef>
                        <a:spcAft>
                          <a:spcPts val="0"/>
                        </a:spcAft>
                        <a:buFontTx/>
                        <a:buNone/>
                      </a:pPr>
                      <a:r>
                        <a:rPr sz="1100" b="0" i="0" u="none">
                          <a:latin typeface="Roboto Light"/>
                        </a:rPr>
                        <a:t>Entrada de agua del filtro 5000 mm² 50 µm MH Azul</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auto" hangingPunct="1">
                        <a:lnSpc>
                          <a:spcPct val="100000"/>
                        </a:lnSpc>
                        <a:spcBef>
                          <a:spcPts val="0"/>
                        </a:spcBef>
                        <a:spcAft>
                          <a:spcPts val="0"/>
                        </a:spcAft>
                        <a:buFontTx/>
                        <a:buNone/>
                      </a:pPr>
                      <a:r>
                        <a:rPr sz="1100" b="0" i="0" u="none">
                          <a:latin typeface="Roboto Light"/>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GB" sz="110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50868267"/>
                  </a:ext>
                </a:extLst>
              </a:tr>
              <a:tr h="291155">
                <a:tc>
                  <a:txBody>
                    <a:bodyPr/>
                    <a:lstStyle/>
                    <a:p>
                      <a:pPr marL="0" marR="0" indent="0" algn="l" defTabSz="1023967" rtl="0" eaLnBrk="1" fontAlgn="ctr" hangingPunct="1">
                        <a:lnSpc>
                          <a:spcPct val="100000"/>
                        </a:lnSpc>
                        <a:spcBef>
                          <a:spcPts val="0"/>
                        </a:spcBef>
                        <a:spcAft>
                          <a:spcPts val="0"/>
                        </a:spcAft>
                        <a:buFontTx/>
                        <a:buNone/>
                      </a:pPr>
                      <a:r>
                        <a:rPr sz="1100" b="0" i="0" u="none">
                          <a:latin typeface="Roboto Light"/>
                        </a:rPr>
                        <a:t>Acoplamiento de entrada</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indent="0" algn="ctr" defTabSz="1023967" rtl="0" eaLnBrk="1" fontAlgn="ctr" hangingPunct="1">
                        <a:lnSpc>
                          <a:spcPct val="100000"/>
                        </a:lnSpc>
                        <a:spcBef>
                          <a:spcPts val="0"/>
                        </a:spcBef>
                        <a:spcAft>
                          <a:spcPts val="0"/>
                        </a:spcAft>
                        <a:buFontTx/>
                        <a:buNone/>
                      </a:pPr>
                      <a:r>
                        <a:rPr sz="1100" b="0" i="0" u="none">
                          <a:latin typeface="Roboto Light"/>
                        </a:rPr>
                        <a:t>61369</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indent="0" algn="ctr" defTabSz="1023967" rtl="0" eaLnBrk="1" fontAlgn="auto" hangingPunct="1">
                        <a:lnSpc>
                          <a:spcPct val="100000"/>
                        </a:lnSpc>
                        <a:spcBef>
                          <a:spcPts val="0"/>
                        </a:spcBef>
                        <a:spcAft>
                          <a:spcPts val="0"/>
                        </a:spcAft>
                        <a:buFontTx/>
                        <a:buNone/>
                      </a:pPr>
                      <a:r>
                        <a:rPr sz="1100" b="1" i="0" u="none" dirty="0">
                          <a:solidFill>
                            <a:srgbClr val="38AFD9"/>
                          </a:solidFill>
                          <a:latin typeface="Segoe MDL2 Assets"/>
                        </a:rPr>
                        <a:t></a:t>
                      </a:r>
                      <a:endParaRPr lang="en-GB"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83008616"/>
                  </a:ext>
                </a:extLst>
              </a:tr>
            </a:tbl>
          </a:graphicData>
        </a:graphic>
      </p:graphicFrame>
      <p:sp>
        <p:nvSpPr>
          <p:cNvPr id="3" name="Pladsholder til tekst 2">
            <a:extLst>
              <a:ext uri="{FF2B5EF4-FFF2-40B4-BE49-F238E27FC236}">
                <a16:creationId xmlns:a16="http://schemas.microsoft.com/office/drawing/2014/main" id="{3F45FFFC-DBB3-E260-6210-CC53E26F5F70}"/>
              </a:ext>
            </a:extLst>
          </p:cNvPr>
          <p:cNvSpPr>
            <a:spLocks noGrp="1"/>
          </p:cNvSpPr>
          <p:nvPr>
            <p:ph type="body" sz="quarter" idx="14"/>
          </p:nvPr>
        </p:nvSpPr>
        <p:spPr/>
        <p:txBody>
          <a:bodyPr/>
          <a:lstStyle/>
          <a:p>
            <a:r>
              <a:t>Accesorios incluidos de serie</a:t>
            </a:r>
          </a:p>
          <a:p>
            <a:endParaRPr lang="en-GB" noProof="0" dirty="0"/>
          </a:p>
        </p:txBody>
      </p:sp>
      <p:sp>
        <p:nvSpPr>
          <p:cNvPr id="4" name="Titel 3">
            <a:extLst>
              <a:ext uri="{FF2B5EF4-FFF2-40B4-BE49-F238E27FC236}">
                <a16:creationId xmlns:a16="http://schemas.microsoft.com/office/drawing/2014/main" id="{B9D0BA16-BBF5-AA2F-881B-1EA362CA91F7}"/>
              </a:ext>
            </a:extLst>
          </p:cNvPr>
          <p:cNvSpPr>
            <a:spLocks noGrp="1"/>
          </p:cNvSpPr>
          <p:nvPr>
            <p:ph type="title"/>
          </p:nvPr>
        </p:nvSpPr>
        <p:spPr/>
        <p:txBody>
          <a:bodyPr/>
          <a:lstStyle/>
          <a:p>
            <a:r>
              <a:t>MH30-50</a:t>
            </a:r>
          </a:p>
        </p:txBody>
      </p:sp>
      <p:sp>
        <p:nvSpPr>
          <p:cNvPr id="5" name="Pladsholder til sidefod 4">
            <a:extLst>
              <a:ext uri="{FF2B5EF4-FFF2-40B4-BE49-F238E27FC236}">
                <a16:creationId xmlns:a16="http://schemas.microsoft.com/office/drawing/2014/main" id="{667F572D-AB24-8754-91AD-FB92DA46DDA4}"/>
              </a:ext>
            </a:extLst>
          </p:cNvPr>
          <p:cNvSpPr>
            <a:spLocks noGrp="1"/>
          </p:cNvSpPr>
          <p:nvPr>
            <p:ph type="ftr" sz="quarter" idx="16"/>
          </p:nvPr>
        </p:nvSpPr>
        <p:spPr/>
        <p:txBody>
          <a:bodyPr/>
          <a:lstStyle/>
          <a:p>
            <a:pPr algn="l"/>
            <a:r>
              <a:t>INFORMACIÓN CONFIDENCIAL DE LA EMPRESA</a:t>
            </a:r>
          </a:p>
        </p:txBody>
      </p:sp>
      <p:sp>
        <p:nvSpPr>
          <p:cNvPr id="6" name="Pladsholder til slidenummer 5">
            <a:extLst>
              <a:ext uri="{FF2B5EF4-FFF2-40B4-BE49-F238E27FC236}">
                <a16:creationId xmlns:a16="http://schemas.microsoft.com/office/drawing/2014/main" id="{25ED1406-B3C3-12CD-4E1F-EBD5440BB0E0}"/>
              </a:ext>
            </a:extLst>
          </p:cNvPr>
          <p:cNvSpPr>
            <a:spLocks noGrp="1"/>
          </p:cNvSpPr>
          <p:nvPr>
            <p:ph type="sldNum" sz="quarter" idx="17"/>
          </p:nvPr>
        </p:nvSpPr>
        <p:spPr/>
        <p:txBody>
          <a:bodyPr/>
          <a:lstStyle/>
          <a:p>
            <a:fld id="{6C385236-B7BA-4938-9EA6-6DEC8CA653D7}" type="slidenum">
              <a:rPr lang="en-GB" noProof="0" smtClean="0"/>
              <a:pPr/>
              <a:t>53</a:t>
            </a:fld>
            <a:endParaRPr lang="en-GB" noProof="0" dirty="0"/>
          </a:p>
        </p:txBody>
      </p:sp>
    </p:spTree>
    <p:extLst>
      <p:ext uri="{BB962C8B-B14F-4D97-AF65-F5344CB8AC3E}">
        <p14:creationId xmlns:p14="http://schemas.microsoft.com/office/powerpoint/2010/main" val="31599160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A72AB66-6D3A-2D97-84DC-FA279EE63E40}"/>
              </a:ext>
            </a:extLst>
          </p:cNvPr>
          <p:cNvSpPr>
            <a:spLocks noGrp="1"/>
          </p:cNvSpPr>
          <p:nvPr>
            <p:ph type="ftr" sz="quarter" idx="19"/>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63846301-A796-D795-73A9-738F534A1D73}"/>
              </a:ext>
            </a:extLst>
          </p:cNvPr>
          <p:cNvSpPr>
            <a:spLocks noGrp="1"/>
          </p:cNvSpPr>
          <p:nvPr>
            <p:ph type="sldNum" sz="quarter" idx="20"/>
          </p:nvPr>
        </p:nvSpPr>
        <p:spPr/>
        <p:txBody>
          <a:bodyPr/>
          <a:lstStyle/>
          <a:p>
            <a:fld id="{6C385236-B7BA-4938-9EA6-6DEC8CA653D7}" type="slidenum">
              <a:rPr lang="en-GB" noProof="0" smtClean="0"/>
              <a:pPr/>
              <a:t>54</a:t>
            </a:fld>
            <a:endParaRPr lang="en-GB" noProof="0" dirty="0"/>
          </a:p>
        </p:txBody>
      </p:sp>
      <p:sp>
        <p:nvSpPr>
          <p:cNvPr id="4" name="Text Placeholder 3">
            <a:extLst>
              <a:ext uri="{FF2B5EF4-FFF2-40B4-BE49-F238E27FC236}">
                <a16:creationId xmlns:a16="http://schemas.microsoft.com/office/drawing/2014/main" id="{42FD0DF5-890F-4F61-92E8-7508BC97ED46}"/>
              </a:ext>
            </a:extLst>
          </p:cNvPr>
          <p:cNvSpPr>
            <a:spLocks noGrp="1"/>
          </p:cNvSpPr>
          <p:nvPr>
            <p:ph type="body" sz="quarter" idx="14"/>
          </p:nvPr>
        </p:nvSpPr>
        <p:spPr/>
        <p:txBody>
          <a:bodyPr/>
          <a:lstStyle/>
          <a:p>
            <a:r>
              <a:t>Embalaje y colores de accesorios actualizados para armonizar con las máquinas</a:t>
            </a:r>
          </a:p>
        </p:txBody>
      </p:sp>
      <p:sp>
        <p:nvSpPr>
          <p:cNvPr id="5" name="Title 4">
            <a:extLst>
              <a:ext uri="{FF2B5EF4-FFF2-40B4-BE49-F238E27FC236}">
                <a16:creationId xmlns:a16="http://schemas.microsoft.com/office/drawing/2014/main" id="{70114CD6-D4EC-A715-338E-15517B1826AA}"/>
              </a:ext>
            </a:extLst>
          </p:cNvPr>
          <p:cNvSpPr>
            <a:spLocks noGrp="1"/>
          </p:cNvSpPr>
          <p:nvPr>
            <p:ph type="title"/>
          </p:nvPr>
        </p:nvSpPr>
        <p:spPr/>
        <p:txBody>
          <a:bodyPr/>
          <a:lstStyle/>
          <a:p>
            <a:r>
              <a:t>PAC</a:t>
            </a:r>
          </a:p>
        </p:txBody>
      </p:sp>
      <p:pic>
        <p:nvPicPr>
          <p:cNvPr id="7" name="Billede 6">
            <a:extLst>
              <a:ext uri="{FF2B5EF4-FFF2-40B4-BE49-F238E27FC236}">
                <a16:creationId xmlns:a16="http://schemas.microsoft.com/office/drawing/2014/main" id="{682CE16B-92D3-8027-D46D-5B5432E6FCE0}"/>
              </a:ext>
            </a:extLst>
          </p:cNvPr>
          <p:cNvPicPr>
            <a:picLocks noChangeAspect="1"/>
          </p:cNvPicPr>
          <p:nvPr/>
        </p:nvPicPr>
        <p:blipFill>
          <a:blip r:embed="rId2" cstate="hqprint">
            <a:extLst>
              <a:ext uri="{28A0092B-C50C-407E-A947-70E740481C1C}">
                <a14:useLocalDpi xmlns:a14="http://schemas.microsoft.com/office/drawing/2010/main"/>
              </a:ext>
            </a:extLst>
          </a:blip>
          <a:srcRect t="-1742" b="3873"/>
          <a:stretch>
            <a:fillRect/>
          </a:stretch>
        </p:blipFill>
        <p:spPr>
          <a:xfrm>
            <a:off x="5354128" y="1962081"/>
            <a:ext cx="3204192" cy="2330633"/>
          </a:xfrm>
          <a:prstGeom prst="rect">
            <a:avLst/>
          </a:prstGeom>
        </p:spPr>
      </p:pic>
      <p:pic>
        <p:nvPicPr>
          <p:cNvPr id="13" name="Billede 12">
            <a:extLst>
              <a:ext uri="{FF2B5EF4-FFF2-40B4-BE49-F238E27FC236}">
                <a16:creationId xmlns:a16="http://schemas.microsoft.com/office/drawing/2014/main" id="{87783D72-F576-6601-912D-429B3167CB50}"/>
              </a:ext>
            </a:extLst>
          </p:cNvPr>
          <p:cNvPicPr>
            <a:picLocks noChangeAspect="1"/>
          </p:cNvPicPr>
          <p:nvPr/>
        </p:nvPicPr>
        <p:blipFill>
          <a:blip r:embed="rId3" cstate="hqprint">
            <a:extLst>
              <a:ext uri="{28A0092B-C50C-407E-A947-70E740481C1C}">
                <a14:useLocalDpi xmlns:a14="http://schemas.microsoft.com/office/drawing/2010/main"/>
              </a:ext>
            </a:extLst>
          </a:blip>
          <a:srcRect r="374"/>
          <a:stretch>
            <a:fillRect/>
          </a:stretch>
        </p:blipFill>
        <p:spPr>
          <a:xfrm>
            <a:off x="1139409" y="4752722"/>
            <a:ext cx="8930768" cy="571580"/>
          </a:xfrm>
          <a:prstGeom prst="rect">
            <a:avLst/>
          </a:prstGeom>
        </p:spPr>
      </p:pic>
      <p:pic>
        <p:nvPicPr>
          <p:cNvPr id="19" name="Billede 18">
            <a:extLst>
              <a:ext uri="{FF2B5EF4-FFF2-40B4-BE49-F238E27FC236}">
                <a16:creationId xmlns:a16="http://schemas.microsoft.com/office/drawing/2014/main" id="{DBBBC47E-E479-0CC0-D565-F35A9D0626F9}"/>
              </a:ext>
            </a:extLst>
          </p:cNvPr>
          <p:cNvPicPr>
            <a:picLocks noChangeAspect="1"/>
          </p:cNvPicPr>
          <p:nvPr/>
        </p:nvPicPr>
        <p:blipFill>
          <a:blip r:embed="rId4"/>
          <a:stretch>
            <a:fillRect/>
          </a:stretch>
        </p:blipFill>
        <p:spPr>
          <a:xfrm>
            <a:off x="1247570" y="1958629"/>
            <a:ext cx="2778353" cy="1845620"/>
          </a:xfrm>
          <a:prstGeom prst="rect">
            <a:avLst/>
          </a:prstGeom>
        </p:spPr>
      </p:pic>
    </p:spTree>
    <p:extLst>
      <p:ext uri="{BB962C8B-B14F-4D97-AF65-F5344CB8AC3E}">
        <p14:creationId xmlns:p14="http://schemas.microsoft.com/office/powerpoint/2010/main" val="14900878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BE404D-ED15-E430-22F2-DB4720F2FF75}"/>
              </a:ext>
            </a:extLst>
          </p:cNvPr>
          <p:cNvSpPr txBox="1">
            <a:spLocks/>
          </p:cNvSpPr>
          <p:nvPr/>
        </p:nvSpPr>
        <p:spPr>
          <a:xfrm>
            <a:off x="7934325" y="0"/>
            <a:ext cx="4257674"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endParaRPr lang="en-GB" noProof="0" dirty="0"/>
          </a:p>
        </p:txBody>
      </p:sp>
      <p:graphicFrame>
        <p:nvGraphicFramePr>
          <p:cNvPr id="10" name="Object 9" hidden="1">
            <a:extLst>
              <a:ext uri="{FF2B5EF4-FFF2-40B4-BE49-F238E27FC236}">
                <a16:creationId xmlns:a16="http://schemas.microsoft.com/office/drawing/2014/main" id="{36DFC7CC-3F4A-4013-910A-57B6B994CE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10" name="Object 9" hidden="1">
                        <a:extLst>
                          <a:ext uri="{FF2B5EF4-FFF2-40B4-BE49-F238E27FC236}">
                            <a16:creationId xmlns:a16="http://schemas.microsoft.com/office/drawing/2014/main" id="{36DFC7CC-3F4A-4013-910A-57B6B994CE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F1F8C585-E863-4938-A665-AACF65194011}"/>
              </a:ext>
            </a:extLst>
          </p:cNvPr>
          <p:cNvSpPr>
            <a:spLocks noGrp="1"/>
          </p:cNvSpPr>
          <p:nvPr>
            <p:ph type="ftr" sz="quarter" idx="24"/>
          </p:nvPr>
        </p:nvSpPr>
        <p:spPr/>
        <p:txBody>
          <a:bodyPr/>
          <a:lstStyle/>
          <a:p>
            <a:pPr algn="l"/>
            <a:r>
              <a:t>INFORMACIÓN CONFIDENCIAL DE LA EMPRESA</a:t>
            </a:r>
          </a:p>
        </p:txBody>
      </p:sp>
      <p:sp>
        <p:nvSpPr>
          <p:cNvPr id="6" name="Slide Number Placeholder 5">
            <a:extLst>
              <a:ext uri="{FF2B5EF4-FFF2-40B4-BE49-F238E27FC236}">
                <a16:creationId xmlns:a16="http://schemas.microsoft.com/office/drawing/2014/main" id="{42F289BF-9F49-45C1-B48A-411B243CFE09}"/>
              </a:ext>
            </a:extLst>
          </p:cNvPr>
          <p:cNvSpPr>
            <a:spLocks noGrp="1"/>
          </p:cNvSpPr>
          <p:nvPr>
            <p:ph type="sldNum" sz="quarter" idx="25"/>
          </p:nvPr>
        </p:nvSpPr>
        <p:spPr/>
        <p:txBody>
          <a:bodyPr/>
          <a:lstStyle/>
          <a:p>
            <a:fld id="{6C385236-B7BA-4938-9EA6-6DEC8CA653D7}" type="slidenum">
              <a:rPr lang="en-GB" noProof="0" smtClean="0"/>
              <a:pPr/>
              <a:t>6</a:t>
            </a:fld>
            <a:endParaRPr lang="en-GB" noProof="0" dirty="0"/>
          </a:p>
        </p:txBody>
      </p:sp>
      <p:sp>
        <p:nvSpPr>
          <p:cNvPr id="13" name="TextBox 12">
            <a:extLst>
              <a:ext uri="{FF2B5EF4-FFF2-40B4-BE49-F238E27FC236}">
                <a16:creationId xmlns:a16="http://schemas.microsoft.com/office/drawing/2014/main" id="{8A0C04EF-C2B9-BA88-B625-A9A29BABB670}"/>
              </a:ext>
            </a:extLst>
          </p:cNvPr>
          <p:cNvSpPr txBox="1"/>
          <p:nvPr/>
        </p:nvSpPr>
        <p:spPr>
          <a:xfrm>
            <a:off x="478800" y="1403908"/>
            <a:ext cx="6862264" cy="64633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sz="1400" b="0" i="0" u="none" dirty="0">
                <a:solidFill>
                  <a:srgbClr val="28313F"/>
                </a:solidFill>
                <a:latin typeface="Roboto Light"/>
              </a:rPr>
              <a:t>La </a:t>
            </a:r>
            <a:r>
              <a:rPr sz="1400" b="0" i="0" u="none" dirty="0" err="1">
                <a:solidFill>
                  <a:srgbClr val="28313F"/>
                </a:solidFill>
                <a:latin typeface="Roboto Light"/>
              </a:rPr>
              <a:t>nueva</a:t>
            </a:r>
            <a:r>
              <a:rPr sz="1400" b="0" i="0" u="none" dirty="0">
                <a:solidFill>
                  <a:srgbClr val="28313F"/>
                </a:solidFill>
                <a:latin typeface="Roboto Light"/>
              </a:rPr>
              <a:t> paleta </a:t>
            </a:r>
            <a:r>
              <a:rPr sz="1400" b="0" i="0" u="none" dirty="0" err="1">
                <a:solidFill>
                  <a:srgbClr val="28313F"/>
                </a:solidFill>
                <a:latin typeface="Roboto Light"/>
              </a:rPr>
              <a:t>profesional</a:t>
            </a:r>
            <a:r>
              <a:rPr sz="1400" b="0" i="0" u="none" dirty="0">
                <a:solidFill>
                  <a:srgbClr val="28313F"/>
                </a:solidFill>
                <a:latin typeface="Roboto Light"/>
              </a:rPr>
              <a:t> CMF ha </a:t>
            </a:r>
            <a:r>
              <a:rPr sz="1400" b="0" i="0" u="none" dirty="0" err="1">
                <a:solidFill>
                  <a:srgbClr val="28313F"/>
                </a:solidFill>
                <a:latin typeface="Roboto Light"/>
              </a:rPr>
              <a:t>sido</a:t>
            </a:r>
            <a:r>
              <a:rPr sz="1400" b="0" i="0" u="none" dirty="0">
                <a:solidFill>
                  <a:srgbClr val="28313F"/>
                </a:solidFill>
                <a:latin typeface="Roboto Light"/>
              </a:rPr>
              <a:t> </a:t>
            </a:r>
            <a:r>
              <a:rPr sz="1400" b="0" i="0" u="none" dirty="0" err="1">
                <a:solidFill>
                  <a:srgbClr val="28313F"/>
                </a:solidFill>
                <a:latin typeface="Roboto Light"/>
              </a:rPr>
              <a:t>investigada</a:t>
            </a:r>
            <a:r>
              <a:rPr sz="1400" b="0" i="0" u="none" dirty="0">
                <a:solidFill>
                  <a:srgbClr val="28313F"/>
                </a:solidFill>
                <a:latin typeface="Roboto Light"/>
              </a:rPr>
              <a:t>, </a:t>
            </a:r>
            <a:r>
              <a:rPr sz="1400" b="0" i="0" u="none" dirty="0" err="1">
                <a:solidFill>
                  <a:srgbClr val="28313F"/>
                </a:solidFill>
                <a:latin typeface="Roboto Light"/>
              </a:rPr>
              <a:t>desarrollada</a:t>
            </a:r>
            <a:r>
              <a:rPr sz="1400" b="0" i="0" u="none" dirty="0">
                <a:solidFill>
                  <a:srgbClr val="28313F"/>
                </a:solidFill>
                <a:latin typeface="Roboto Light"/>
              </a:rPr>
              <a:t> y </a:t>
            </a:r>
            <a:r>
              <a:rPr sz="1400" b="0" i="0" u="none" dirty="0" err="1">
                <a:solidFill>
                  <a:srgbClr val="28313F"/>
                </a:solidFill>
                <a:latin typeface="Roboto Light"/>
              </a:rPr>
              <a:t>probada</a:t>
            </a:r>
            <a:r>
              <a:rPr sz="1400" b="0" i="0" u="none" dirty="0">
                <a:solidFill>
                  <a:srgbClr val="28313F"/>
                </a:solidFill>
                <a:latin typeface="Roboto Light"/>
              </a:rPr>
              <a:t> </a:t>
            </a:r>
            <a:r>
              <a:rPr sz="1400" b="0" i="0" u="none" dirty="0" err="1">
                <a:solidFill>
                  <a:srgbClr val="28313F"/>
                </a:solidFill>
                <a:latin typeface="Roboto Light"/>
              </a:rPr>
              <a:t>exhaustivamente</a:t>
            </a:r>
            <a:r>
              <a:rPr sz="1400" b="0" i="0" u="none" dirty="0">
                <a:solidFill>
                  <a:srgbClr val="28313F"/>
                </a:solidFill>
                <a:latin typeface="Roboto Light"/>
              </a:rPr>
              <a:t>, y </a:t>
            </a:r>
            <a:r>
              <a:rPr sz="1400" b="0" i="0" u="none" dirty="0" err="1">
                <a:solidFill>
                  <a:srgbClr val="28313F"/>
                </a:solidFill>
                <a:latin typeface="Roboto Light"/>
              </a:rPr>
              <a:t>permite</a:t>
            </a:r>
            <a:r>
              <a:rPr sz="1400" b="0" i="0" u="none" dirty="0">
                <a:solidFill>
                  <a:srgbClr val="28313F"/>
                </a:solidFill>
                <a:latin typeface="Roboto Light"/>
              </a:rPr>
              <a:t> un </a:t>
            </a:r>
            <a:r>
              <a:rPr sz="1400" b="0" i="0" u="none" dirty="0" err="1">
                <a:solidFill>
                  <a:srgbClr val="28313F"/>
                </a:solidFill>
                <a:latin typeface="Roboto Light"/>
              </a:rPr>
              <a:t>uso</a:t>
            </a:r>
            <a:r>
              <a:rPr sz="1400" b="0" i="0" u="none" dirty="0">
                <a:solidFill>
                  <a:srgbClr val="28313F"/>
                </a:solidFill>
                <a:latin typeface="Roboto Light"/>
              </a:rPr>
              <a:t> </a:t>
            </a:r>
            <a:r>
              <a:rPr sz="1400" b="0" i="0" u="none" dirty="0" err="1">
                <a:solidFill>
                  <a:srgbClr val="28313F"/>
                </a:solidFill>
                <a:latin typeface="Roboto Light"/>
              </a:rPr>
              <a:t>más</a:t>
            </a:r>
            <a:r>
              <a:rPr sz="1400" b="0" i="0" u="none" dirty="0">
                <a:solidFill>
                  <a:srgbClr val="28313F"/>
                </a:solidFill>
                <a:latin typeface="Roboto Light"/>
              </a:rPr>
              <a:t> </a:t>
            </a:r>
            <a:r>
              <a:rPr sz="1400" b="0" i="0" u="none" dirty="0" err="1">
                <a:solidFill>
                  <a:srgbClr val="28313F"/>
                </a:solidFill>
                <a:latin typeface="Roboto Light"/>
              </a:rPr>
              <a:t>elevado</a:t>
            </a:r>
            <a:r>
              <a:rPr sz="1400" b="0" i="0" u="none" dirty="0">
                <a:solidFill>
                  <a:srgbClr val="28313F"/>
                </a:solidFill>
                <a:latin typeface="Roboto Light"/>
              </a:rPr>
              <a:t> de </a:t>
            </a:r>
            <a:r>
              <a:rPr sz="1400" dirty="0" err="1">
                <a:solidFill>
                  <a:srgbClr val="28313F"/>
                </a:solidFill>
                <a:latin typeface="Roboto Light"/>
              </a:rPr>
              <a:t>plásticos</a:t>
            </a:r>
            <a:r>
              <a:rPr sz="1400" dirty="0">
                <a:solidFill>
                  <a:srgbClr val="28313F"/>
                </a:solidFill>
                <a:latin typeface="Roboto Light"/>
              </a:rPr>
              <a:t> </a:t>
            </a:r>
            <a:r>
              <a:rPr sz="1400" b="0" i="0" u="none" dirty="0">
                <a:solidFill>
                  <a:srgbClr val="28313F"/>
                </a:solidFill>
                <a:latin typeface="Roboto Light"/>
              </a:rPr>
              <a:t>no </a:t>
            </a:r>
            <a:r>
              <a:rPr sz="1400" b="0" i="0" u="none" dirty="0" err="1">
                <a:solidFill>
                  <a:srgbClr val="28313F"/>
                </a:solidFill>
                <a:latin typeface="Roboto Light"/>
              </a:rPr>
              <a:t>vírgenes</a:t>
            </a:r>
            <a:r>
              <a:rPr sz="1400" b="0" i="0" u="none" dirty="0">
                <a:solidFill>
                  <a:srgbClr val="28313F"/>
                </a:solidFill>
                <a:latin typeface="Roboto Light"/>
              </a:rPr>
              <a:t> y </a:t>
            </a:r>
            <a:r>
              <a:rPr sz="1400" b="0" i="0" u="none" dirty="0" err="1">
                <a:solidFill>
                  <a:srgbClr val="28313F"/>
                </a:solidFill>
                <a:latin typeface="Roboto Light"/>
              </a:rPr>
              <a:t>reciclados</a:t>
            </a:r>
            <a:r>
              <a:rPr sz="1400" b="0" i="0" u="none" dirty="0">
                <a:solidFill>
                  <a:srgbClr val="28313F"/>
                </a:solidFill>
                <a:latin typeface="Roboto Light"/>
              </a:rPr>
              <a:t>* (</a:t>
            </a:r>
            <a:r>
              <a:rPr sz="1400" b="0" i="0" u="none" dirty="0" err="1">
                <a:solidFill>
                  <a:srgbClr val="28313F"/>
                </a:solidFill>
                <a:latin typeface="Roboto Light"/>
              </a:rPr>
              <a:t>en</a:t>
            </a:r>
            <a:r>
              <a:rPr sz="1400" b="0" i="0" u="none" dirty="0">
                <a:solidFill>
                  <a:srgbClr val="28313F"/>
                </a:solidFill>
                <a:latin typeface="Roboto Light"/>
              </a:rPr>
              <a:t> </a:t>
            </a:r>
            <a:r>
              <a:rPr sz="1400" b="0" i="0" u="none" dirty="0" err="1">
                <a:solidFill>
                  <a:srgbClr val="28313F"/>
                </a:solidFill>
                <a:latin typeface="Roboto Light"/>
              </a:rPr>
              <a:t>línea</a:t>
            </a:r>
            <a:r>
              <a:rPr sz="1400" b="0" i="0" u="none" dirty="0">
                <a:solidFill>
                  <a:srgbClr val="28313F"/>
                </a:solidFill>
                <a:latin typeface="Roboto Light"/>
              </a:rPr>
              <a:t> con </a:t>
            </a:r>
            <a:r>
              <a:rPr sz="1400" b="0" i="0" u="none" dirty="0" err="1">
                <a:solidFill>
                  <a:srgbClr val="28313F"/>
                </a:solidFill>
                <a:latin typeface="Roboto Light"/>
              </a:rPr>
              <a:t>nuestros</a:t>
            </a:r>
            <a:r>
              <a:rPr sz="1400" b="0" i="0" u="none" dirty="0">
                <a:solidFill>
                  <a:srgbClr val="28313F"/>
                </a:solidFill>
                <a:latin typeface="Roboto Light"/>
              </a:rPr>
              <a:t> </a:t>
            </a:r>
            <a:r>
              <a:rPr sz="1400" b="0" i="0" u="none" dirty="0" err="1">
                <a:solidFill>
                  <a:srgbClr val="28313F"/>
                </a:solidFill>
                <a:latin typeface="Roboto Light"/>
              </a:rPr>
              <a:t>objetivos</a:t>
            </a:r>
            <a:r>
              <a:rPr sz="1400" b="0" i="0" u="none" dirty="0">
                <a:solidFill>
                  <a:srgbClr val="28313F"/>
                </a:solidFill>
                <a:latin typeface="Roboto Light"/>
              </a:rPr>
              <a:t> de RSC), al </a:t>
            </a:r>
            <a:r>
              <a:rPr sz="1400" b="0" i="0" u="none" dirty="0" err="1">
                <a:solidFill>
                  <a:srgbClr val="28313F"/>
                </a:solidFill>
                <a:latin typeface="Roboto Light"/>
              </a:rPr>
              <a:t>mismo</a:t>
            </a:r>
            <a:r>
              <a:rPr sz="1400" b="0" i="0" u="none" dirty="0">
                <a:solidFill>
                  <a:srgbClr val="28313F"/>
                </a:solidFill>
                <a:latin typeface="Roboto Light"/>
              </a:rPr>
              <a:t> </a:t>
            </a:r>
            <a:r>
              <a:rPr sz="1400" b="0" i="0" u="none" dirty="0" err="1">
                <a:solidFill>
                  <a:srgbClr val="28313F"/>
                </a:solidFill>
                <a:latin typeface="Roboto Light"/>
              </a:rPr>
              <a:t>tiempo</a:t>
            </a:r>
            <a:r>
              <a:rPr sz="1400" b="0" i="0" u="none" dirty="0">
                <a:solidFill>
                  <a:srgbClr val="28313F"/>
                </a:solidFill>
                <a:latin typeface="Roboto Light"/>
              </a:rPr>
              <a:t> </a:t>
            </a:r>
            <a:r>
              <a:rPr sz="1400" b="0" i="0" u="none" dirty="0" err="1">
                <a:solidFill>
                  <a:srgbClr val="28313F"/>
                </a:solidFill>
                <a:latin typeface="Roboto Light"/>
              </a:rPr>
              <a:t>que</a:t>
            </a:r>
            <a:r>
              <a:rPr sz="1400" b="0" i="0" u="none" dirty="0">
                <a:solidFill>
                  <a:srgbClr val="28313F"/>
                </a:solidFill>
                <a:latin typeface="Roboto Light"/>
              </a:rPr>
              <a:t> </a:t>
            </a:r>
            <a:r>
              <a:rPr sz="1400" b="0" i="0" u="none" dirty="0" err="1">
                <a:solidFill>
                  <a:srgbClr val="28313F"/>
                </a:solidFill>
                <a:latin typeface="Roboto Light"/>
              </a:rPr>
              <a:t>facilita</a:t>
            </a:r>
            <a:r>
              <a:rPr sz="1400" b="0" i="0" u="none" dirty="0">
                <a:solidFill>
                  <a:srgbClr val="28313F"/>
                </a:solidFill>
                <a:latin typeface="Roboto Light"/>
              </a:rPr>
              <a:t> </a:t>
            </a:r>
            <a:r>
              <a:rPr sz="1400" b="0" i="0" u="none" dirty="0" err="1">
                <a:solidFill>
                  <a:srgbClr val="28313F"/>
                </a:solidFill>
                <a:latin typeface="Roboto Light"/>
              </a:rPr>
              <a:t>una</a:t>
            </a:r>
            <a:r>
              <a:rPr sz="1400" b="0" i="0" u="none" dirty="0">
                <a:solidFill>
                  <a:srgbClr val="28313F"/>
                </a:solidFill>
                <a:latin typeface="Roboto Light"/>
              </a:rPr>
              <a:t> </a:t>
            </a:r>
            <a:r>
              <a:rPr sz="1400" b="0" i="0" u="none" dirty="0" err="1">
                <a:solidFill>
                  <a:srgbClr val="28313F"/>
                </a:solidFill>
                <a:latin typeface="Roboto Light"/>
              </a:rPr>
              <a:t>usabilidad</a:t>
            </a:r>
            <a:r>
              <a:rPr sz="1400" b="0" i="0" u="none" dirty="0">
                <a:solidFill>
                  <a:srgbClr val="28313F"/>
                </a:solidFill>
                <a:latin typeface="Roboto Light"/>
              </a:rPr>
              <a:t> </a:t>
            </a:r>
            <a:r>
              <a:rPr sz="1400" b="0" i="0" u="none" dirty="0" err="1">
                <a:solidFill>
                  <a:srgbClr val="28313F"/>
                </a:solidFill>
                <a:latin typeface="Roboto Light"/>
              </a:rPr>
              <a:t>intuitiva</a:t>
            </a:r>
            <a:r>
              <a:rPr sz="1400" b="0" i="0" u="none" dirty="0">
                <a:solidFill>
                  <a:srgbClr val="28313F"/>
                </a:solidFill>
                <a:latin typeface="Roboto Light"/>
              </a:rPr>
              <a:t>.</a:t>
            </a:r>
          </a:p>
        </p:txBody>
      </p:sp>
      <p:grpSp>
        <p:nvGrpSpPr>
          <p:cNvPr id="14" name="Group 13">
            <a:extLst>
              <a:ext uri="{FF2B5EF4-FFF2-40B4-BE49-F238E27FC236}">
                <a16:creationId xmlns:a16="http://schemas.microsoft.com/office/drawing/2014/main" id="{3EF204BC-B1EC-741A-6336-8212442C566E}"/>
              </a:ext>
            </a:extLst>
          </p:cNvPr>
          <p:cNvGrpSpPr/>
          <p:nvPr/>
        </p:nvGrpSpPr>
        <p:grpSpPr>
          <a:xfrm>
            <a:off x="383411" y="2310591"/>
            <a:ext cx="6388959" cy="3959579"/>
            <a:chOff x="5929543" y="2144223"/>
            <a:chExt cx="7253212" cy="4495200"/>
          </a:xfrm>
        </p:grpSpPr>
        <p:sp>
          <p:nvSpPr>
            <p:cNvPr id="15" name="Rectangle 14">
              <a:extLst>
                <a:ext uri="{FF2B5EF4-FFF2-40B4-BE49-F238E27FC236}">
                  <a16:creationId xmlns:a16="http://schemas.microsoft.com/office/drawing/2014/main" id="{26ADDE98-57E2-18BB-1497-91E0492D694F}"/>
                </a:ext>
              </a:extLst>
            </p:cNvPr>
            <p:cNvSpPr/>
            <p:nvPr/>
          </p:nvSpPr>
          <p:spPr>
            <a:xfrm>
              <a:off x="10106256" y="2157406"/>
              <a:ext cx="3076499" cy="1065319"/>
            </a:xfrm>
            <a:prstGeom prst="rect">
              <a:avLst/>
            </a:prstGeom>
            <a:solidFill>
              <a:srgbClr val="3A45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7" name="Rectangle 16">
              <a:extLst>
                <a:ext uri="{FF2B5EF4-FFF2-40B4-BE49-F238E27FC236}">
                  <a16:creationId xmlns:a16="http://schemas.microsoft.com/office/drawing/2014/main" id="{FAD2F72C-F11C-D2DB-0672-32CECC56EEE7}"/>
                </a:ext>
              </a:extLst>
            </p:cNvPr>
            <p:cNvSpPr/>
            <p:nvPr/>
          </p:nvSpPr>
          <p:spPr>
            <a:xfrm>
              <a:off x="10096185" y="5574104"/>
              <a:ext cx="3076499" cy="1065319"/>
            </a:xfrm>
            <a:prstGeom prst="rect">
              <a:avLst/>
            </a:prstGeom>
            <a:solidFill>
              <a:srgbClr val="F473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8" name="Rectangle 17">
              <a:extLst>
                <a:ext uri="{FF2B5EF4-FFF2-40B4-BE49-F238E27FC236}">
                  <a16:creationId xmlns:a16="http://schemas.microsoft.com/office/drawing/2014/main" id="{40449AD1-A385-1182-0BDA-534205F8E1B1}"/>
                </a:ext>
              </a:extLst>
            </p:cNvPr>
            <p:cNvSpPr/>
            <p:nvPr/>
          </p:nvSpPr>
          <p:spPr>
            <a:xfrm>
              <a:off x="10106255" y="4433584"/>
              <a:ext cx="3066430" cy="1065319"/>
            </a:xfrm>
            <a:prstGeom prst="rect">
              <a:avLst/>
            </a:prstGeom>
            <a:solidFill>
              <a:srgbClr val="5FC6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9" name="Rectangle 18">
              <a:extLst>
                <a:ext uri="{FF2B5EF4-FFF2-40B4-BE49-F238E27FC236}">
                  <a16:creationId xmlns:a16="http://schemas.microsoft.com/office/drawing/2014/main" id="{63496403-F379-CA5D-D3A9-A852BB3C6E96}"/>
                </a:ext>
              </a:extLst>
            </p:cNvPr>
            <p:cNvSpPr/>
            <p:nvPr/>
          </p:nvSpPr>
          <p:spPr>
            <a:xfrm>
              <a:off x="10106255" y="3293065"/>
              <a:ext cx="3066431" cy="1065319"/>
            </a:xfrm>
            <a:prstGeom prst="rect">
              <a:avLst/>
            </a:prstGeom>
            <a:solidFill>
              <a:srgbClr val="619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20" name="TextBox 19">
              <a:extLst>
                <a:ext uri="{FF2B5EF4-FFF2-40B4-BE49-F238E27FC236}">
                  <a16:creationId xmlns:a16="http://schemas.microsoft.com/office/drawing/2014/main" id="{7F4BEA95-01B9-7F28-BD11-7A3D20F862E5}"/>
                </a:ext>
              </a:extLst>
            </p:cNvPr>
            <p:cNvSpPr txBox="1"/>
            <p:nvPr/>
          </p:nvSpPr>
          <p:spPr>
            <a:xfrm>
              <a:off x="5929545" y="2144223"/>
              <a:ext cx="3566534" cy="733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28313F"/>
                  </a:solidFill>
                  <a:effectLst/>
                  <a:uLnTx/>
                  <a:uFillTx/>
                  <a:latin typeface="Roboto Bold" panose="02000000000000000000" pitchFamily="2" charset="0"/>
                  <a:ea typeface="Roboto Bold" panose="02000000000000000000" pitchFamily="2" charset="0"/>
                </a:rPr>
                <a:t>Primary product body col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rPr>
                <a:t>This is the main product colour to be used on all major parts.</a:t>
              </a:r>
            </a:p>
          </p:txBody>
        </p:sp>
        <p:sp>
          <p:nvSpPr>
            <p:cNvPr id="21" name="TextBox 20">
              <a:extLst>
                <a:ext uri="{FF2B5EF4-FFF2-40B4-BE49-F238E27FC236}">
                  <a16:creationId xmlns:a16="http://schemas.microsoft.com/office/drawing/2014/main" id="{AE5D1189-CC5A-FC74-4D8D-58FA6DDD4A52}"/>
                </a:ext>
              </a:extLst>
            </p:cNvPr>
            <p:cNvSpPr txBox="1"/>
            <p:nvPr/>
          </p:nvSpPr>
          <p:spPr>
            <a:xfrm>
              <a:off x="5929544" y="4378558"/>
              <a:ext cx="3780491" cy="9434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28313F"/>
                  </a:solidFill>
                  <a:effectLst/>
                  <a:uLnTx/>
                  <a:uFillTx/>
                  <a:latin typeface="Roboto Bold" panose="02000000000000000000" pitchFamily="2" charset="0"/>
                  <a:ea typeface="Roboto Bold" panose="02000000000000000000" pitchFamily="2" charset="0"/>
                </a:rPr>
                <a:t>User touchpoint operational col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rPr>
                <a:t>Switches, buttons, caps, grips. Any part this colour is needed to be interacted with to operate the machine effectively.</a:t>
              </a:r>
            </a:p>
          </p:txBody>
        </p:sp>
        <p:sp>
          <p:nvSpPr>
            <p:cNvPr id="22" name="TextBox 21">
              <a:extLst>
                <a:ext uri="{FF2B5EF4-FFF2-40B4-BE49-F238E27FC236}">
                  <a16:creationId xmlns:a16="http://schemas.microsoft.com/office/drawing/2014/main" id="{149396B4-2460-8451-2FB7-4D89FFDDD71C}"/>
                </a:ext>
              </a:extLst>
            </p:cNvPr>
            <p:cNvSpPr txBox="1"/>
            <p:nvPr/>
          </p:nvSpPr>
          <p:spPr>
            <a:xfrm>
              <a:off x="5929543" y="3281055"/>
              <a:ext cx="3780492" cy="733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28313F"/>
                  </a:solidFill>
                  <a:effectLst/>
                  <a:uLnTx/>
                  <a:uFillTx/>
                  <a:latin typeface="Roboto Bold" panose="02000000000000000000" pitchFamily="2" charset="0"/>
                  <a:ea typeface="Roboto Bold" panose="02000000000000000000" pitchFamily="2" charset="0"/>
                </a:rPr>
                <a:t>Ergonomic / feature col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rPr>
                <a:t>A colour to highlight ergonomic areas (e.g. grip) and product specific features and USPs.</a:t>
              </a:r>
            </a:p>
          </p:txBody>
        </p:sp>
        <p:sp>
          <p:nvSpPr>
            <p:cNvPr id="23" name="TextBox 22">
              <a:extLst>
                <a:ext uri="{FF2B5EF4-FFF2-40B4-BE49-F238E27FC236}">
                  <a16:creationId xmlns:a16="http://schemas.microsoft.com/office/drawing/2014/main" id="{743A28BE-81F2-F3EA-BF95-B7361F2D69D8}"/>
                </a:ext>
              </a:extLst>
            </p:cNvPr>
            <p:cNvSpPr txBox="1"/>
            <p:nvPr/>
          </p:nvSpPr>
          <p:spPr>
            <a:xfrm>
              <a:off x="5929544" y="5553527"/>
              <a:ext cx="3566535" cy="9434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28313F"/>
                  </a:solidFill>
                  <a:effectLst/>
                  <a:uLnTx/>
                  <a:uFillTx/>
                  <a:latin typeface="Roboto Bold" panose="02000000000000000000" pitchFamily="2" charset="0"/>
                  <a:ea typeface="Roboto Bold" panose="02000000000000000000" pitchFamily="2" charset="0"/>
                </a:rPr>
                <a:t>Safety / service col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rPr>
                <a:t>Parts this colour indicate safety elements (e.g. charging cables, reverse buttons) and service point.</a:t>
              </a:r>
            </a:p>
          </p:txBody>
        </p:sp>
      </p:grpSp>
      <p:sp>
        <p:nvSpPr>
          <p:cNvPr id="24" name="Title 18">
            <a:extLst>
              <a:ext uri="{FF2B5EF4-FFF2-40B4-BE49-F238E27FC236}">
                <a16:creationId xmlns:a16="http://schemas.microsoft.com/office/drawing/2014/main" id="{EC7DDE3C-25E1-00E9-1A8A-16BDC5672DB5}"/>
              </a:ext>
            </a:extLst>
          </p:cNvPr>
          <p:cNvSpPr txBox="1">
            <a:spLocks/>
          </p:cNvSpPr>
          <p:nvPr/>
        </p:nvSpPr>
        <p:spPr>
          <a:xfrm>
            <a:off x="479425" y="494490"/>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pPr marL="0" marR="0" indent="0" algn="l" defTabSz="1023967" rtl="0" eaLnBrk="1" fontAlgn="auto" latinLnBrk="0" hangingPunct="1">
              <a:lnSpc>
                <a:spcPts val="3100"/>
              </a:lnSpc>
              <a:spcBef>
                <a:spcPct val="0"/>
              </a:spcBef>
              <a:spcAft>
                <a:spcPts val="400"/>
              </a:spcAft>
              <a:buClrTx/>
              <a:buSzTx/>
              <a:buFontTx/>
              <a:buNone/>
              <a:tabLst>
                <a:tab pos="989013" algn="l"/>
              </a:tabLst>
              <a:defRPr/>
            </a:pPr>
            <a:r>
              <a:rPr sz="2800" b="1" i="0" u="none" dirty="0" err="1">
                <a:latin typeface="Roboto"/>
              </a:rPr>
              <a:t>Estrategia</a:t>
            </a:r>
            <a:r>
              <a:rPr sz="2800" b="1" i="0" u="none" dirty="0">
                <a:latin typeface="Roboto"/>
              </a:rPr>
              <a:t> CMF para la </a:t>
            </a:r>
            <a:r>
              <a:rPr sz="2800" b="1" i="0" u="none" dirty="0" err="1">
                <a:latin typeface="Roboto"/>
              </a:rPr>
              <a:t>próxima</a:t>
            </a:r>
            <a:r>
              <a:rPr sz="2800" b="1" i="0" u="none" dirty="0">
                <a:latin typeface="Roboto"/>
              </a:rPr>
              <a:t> </a:t>
            </a:r>
            <a:r>
              <a:rPr sz="2800" b="1" i="0" u="none" dirty="0" err="1">
                <a:latin typeface="Roboto"/>
              </a:rPr>
              <a:t>generación</a:t>
            </a:r>
            <a:r>
              <a:rPr sz="2800" b="1" i="0" u="none" dirty="0">
                <a:latin typeface="Roboto"/>
              </a:rPr>
              <a:t> </a:t>
            </a:r>
            <a:r>
              <a:rPr dirty="0">
                <a:latin typeface="Roboto"/>
              </a:rPr>
              <a:t>de </a:t>
            </a:r>
            <a:r>
              <a:rPr sz="2800" b="1" i="0" u="none" dirty="0" err="1">
                <a:latin typeface="Roboto"/>
              </a:rPr>
              <a:t>productos</a:t>
            </a:r>
            <a:r>
              <a:rPr sz="2800" b="1" i="0" u="none" dirty="0">
                <a:latin typeface="Roboto"/>
              </a:rPr>
              <a:t> </a:t>
            </a:r>
            <a:r>
              <a:rPr sz="2800" b="1" i="0" u="none" dirty="0" err="1">
                <a:latin typeface="Roboto"/>
              </a:rPr>
              <a:t>profesionales</a:t>
            </a:r>
            <a:endParaRPr sz="2800" b="1" i="0" u="none" dirty="0">
              <a:latin typeface="Roboto"/>
            </a:endParaRPr>
          </a:p>
        </p:txBody>
      </p:sp>
      <p:sp>
        <p:nvSpPr>
          <p:cNvPr id="3" name="TextBox 2">
            <a:extLst>
              <a:ext uri="{FF2B5EF4-FFF2-40B4-BE49-F238E27FC236}">
                <a16:creationId xmlns:a16="http://schemas.microsoft.com/office/drawing/2014/main" id="{F00F6711-04D9-FD90-2CB2-CA699A153305}"/>
              </a:ext>
            </a:extLst>
          </p:cNvPr>
          <p:cNvSpPr txBox="1"/>
          <p:nvPr/>
        </p:nvSpPr>
        <p:spPr>
          <a:xfrm>
            <a:off x="7104616" y="6443539"/>
            <a:ext cx="6862264" cy="161583"/>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sz="1050" b="0" i="0" u="none">
                <a:solidFill>
                  <a:srgbClr val="28313F"/>
                </a:solidFill>
                <a:latin typeface="Roboto Light"/>
              </a:rPr>
              <a:t>La gama MH no se fabricará con plástico reciclado</a:t>
            </a:r>
          </a:p>
        </p:txBody>
      </p:sp>
      <p:pic>
        <p:nvPicPr>
          <p:cNvPr id="7" name="Picture 6" descr="A machine with wheels and a handle&#10;&#10;AI-generated content may be incorrect.">
            <a:extLst>
              <a:ext uri="{FF2B5EF4-FFF2-40B4-BE49-F238E27FC236}">
                <a16:creationId xmlns:a16="http://schemas.microsoft.com/office/drawing/2014/main" id="{6762C48B-DF34-3C14-C4F4-3BF8FA631DB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341064" y="891772"/>
            <a:ext cx="5510697" cy="5812971"/>
          </a:xfrm>
          <a:prstGeom prst="rect">
            <a:avLst/>
          </a:prstGeom>
        </p:spPr>
      </p:pic>
    </p:spTree>
    <p:extLst>
      <p:ext uri="{BB962C8B-B14F-4D97-AF65-F5344CB8AC3E}">
        <p14:creationId xmlns:p14="http://schemas.microsoft.com/office/powerpoint/2010/main" val="32078163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r>
              <a:t>3</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r>
              <a:t>Segmentos</a:t>
            </a:r>
          </a:p>
          <a:p>
            <a:endParaRPr lang="en-GB"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a:r>
              <a:t>INFORMACIÓN CONFIDENCIAL DE LA EMPRESA</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fld id="{6C385236-B7BA-4938-9EA6-6DEC8CA653D7}" type="slidenum">
              <a:rPr lang="en-GB" noProof="0" smtClean="0"/>
              <a:pPr/>
              <a:t>7</a:t>
            </a:fld>
            <a:endParaRPr lang="en-GB" noProof="0" dirty="0"/>
          </a:p>
        </p:txBody>
      </p:sp>
    </p:spTree>
    <p:extLst>
      <p:ext uri="{BB962C8B-B14F-4D97-AF65-F5344CB8AC3E}">
        <p14:creationId xmlns:p14="http://schemas.microsoft.com/office/powerpoint/2010/main" val="19691965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FC671-F308-FE0E-C36A-45C2BF5EEE9E}"/>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C0FB0DD-6314-8036-A704-FF109C365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10" name="Object 9" hidden="1">
                        <a:extLst>
                          <a:ext uri="{FF2B5EF4-FFF2-40B4-BE49-F238E27FC236}">
                            <a16:creationId xmlns:a16="http://schemas.microsoft.com/office/drawing/2014/main" id="{0C0FB0DD-6314-8036-A704-FF109C365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08888B5-E630-AB4F-6BD9-BE9725613B1E}"/>
              </a:ext>
            </a:extLst>
          </p:cNvPr>
          <p:cNvSpPr>
            <a:spLocks noGrp="1"/>
          </p:cNvSpPr>
          <p:nvPr>
            <p:ph type="ftr" sz="quarter" idx="24"/>
          </p:nvPr>
        </p:nvSpPr>
        <p:spPr/>
        <p:txBody>
          <a:bodyPr/>
          <a:lstStyle/>
          <a:p>
            <a:pPr algn="l"/>
            <a:r>
              <a:t>INFORMACIÓN CONFIDENCIAL DE LA EMPRESA</a:t>
            </a:r>
          </a:p>
        </p:txBody>
      </p:sp>
      <p:sp>
        <p:nvSpPr>
          <p:cNvPr id="6" name="Slide Number Placeholder 5">
            <a:extLst>
              <a:ext uri="{FF2B5EF4-FFF2-40B4-BE49-F238E27FC236}">
                <a16:creationId xmlns:a16="http://schemas.microsoft.com/office/drawing/2014/main" id="{3FBF5899-313D-BF34-996B-E575EC262E23}"/>
              </a:ext>
            </a:extLst>
          </p:cNvPr>
          <p:cNvSpPr>
            <a:spLocks noGrp="1"/>
          </p:cNvSpPr>
          <p:nvPr>
            <p:ph type="sldNum" sz="quarter" idx="25"/>
          </p:nvPr>
        </p:nvSpPr>
        <p:spPr/>
        <p:txBody>
          <a:bodyPr/>
          <a:lstStyle/>
          <a:p>
            <a:fld id="{6C385236-B7BA-4938-9EA6-6DEC8CA653D7}" type="slidenum">
              <a:rPr lang="en-GB" noProof="0" smtClean="0"/>
              <a:pPr/>
              <a:t>8</a:t>
            </a:fld>
            <a:endParaRPr lang="en-GB" noProof="0" dirty="0"/>
          </a:p>
        </p:txBody>
      </p:sp>
      <p:sp>
        <p:nvSpPr>
          <p:cNvPr id="8" name="Title 7">
            <a:extLst>
              <a:ext uri="{FF2B5EF4-FFF2-40B4-BE49-F238E27FC236}">
                <a16:creationId xmlns:a16="http://schemas.microsoft.com/office/drawing/2014/main" id="{9665F8DF-4290-E7EB-F7C8-BBD9F97242D3}"/>
              </a:ext>
            </a:extLst>
          </p:cNvPr>
          <p:cNvSpPr>
            <a:spLocks noGrp="1"/>
          </p:cNvSpPr>
          <p:nvPr>
            <p:ph type="title"/>
          </p:nvPr>
        </p:nvSpPr>
        <p:spPr>
          <a:xfrm>
            <a:off x="478800" y="493200"/>
            <a:ext cx="5762623" cy="388013"/>
          </a:xfrm>
        </p:spPr>
        <p:txBody>
          <a:bodyPr vert="horz"/>
          <a:lstStyle/>
          <a:p>
            <a:r>
              <a:t>Segmentos objetivo</a:t>
            </a:r>
            <a:endParaRPr lang="en-GB" sz="1800" noProof="0" dirty="0">
              <a:latin typeface="+mn-lt"/>
            </a:endParaRPr>
          </a:p>
        </p:txBody>
      </p:sp>
      <p:sp>
        <p:nvSpPr>
          <p:cNvPr id="4" name="Text Placeholder 2">
            <a:extLst>
              <a:ext uri="{FF2B5EF4-FFF2-40B4-BE49-F238E27FC236}">
                <a16:creationId xmlns:a16="http://schemas.microsoft.com/office/drawing/2014/main" id="{4667D820-D842-7A7A-B43C-8E79CBAF8739}"/>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marR="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sz="1800" i="0" u="none">
                <a:latin typeface="Roboto Light"/>
              </a:rPr>
              <a:t>Aplicaciones</a:t>
            </a:r>
          </a:p>
        </p:txBody>
      </p:sp>
      <p:sp>
        <p:nvSpPr>
          <p:cNvPr id="7" name="TextBox 6">
            <a:extLst>
              <a:ext uri="{FF2B5EF4-FFF2-40B4-BE49-F238E27FC236}">
                <a16:creationId xmlns:a16="http://schemas.microsoft.com/office/drawing/2014/main" id="{01D60540-3BC6-8FBA-1153-09EC99AB7B91}"/>
              </a:ext>
            </a:extLst>
          </p:cNvPr>
          <p:cNvSpPr txBox="1"/>
          <p:nvPr/>
        </p:nvSpPr>
        <p:spPr>
          <a:xfrm>
            <a:off x="475521" y="1419951"/>
            <a:ext cx="6254780" cy="2970044"/>
          </a:xfrm>
          <a:prstGeom prst="rect">
            <a:avLst/>
          </a:prstGeom>
          <a:noFill/>
        </p:spPr>
        <p:txBody>
          <a:bodyPr wrap="square" lIns="0" tIns="0" rIns="0" bIns="0" rtlCol="0">
            <a:spAutoFit/>
          </a:bodyPr>
          <a:lstStyle/>
          <a:p>
            <a:pPr marR="0" indent="0" algn="l" defTabSz="914400" rtl="0" eaLnBrk="1" fontAlgn="auto" latinLnBrk="0" hangingPunct="1">
              <a:lnSpc>
                <a:spcPct val="100000"/>
              </a:lnSpc>
              <a:spcBef>
                <a:spcPts val="336"/>
              </a:spcBef>
              <a:spcAft>
                <a:spcPts val="0"/>
              </a:spcAft>
              <a:buClrTx/>
              <a:buSzTx/>
              <a:buFontTx/>
              <a:buNone/>
              <a:tabLst/>
              <a:defRPr/>
            </a:pPr>
            <a:r>
              <a:rPr sz="1400" b="0" i="0" u="none">
                <a:solidFill>
                  <a:srgbClr val="28313F"/>
                </a:solidFill>
                <a:latin typeface="Roboto Bold"/>
              </a:rPr>
              <a:t>Principales </a:t>
            </a:r>
            <a:r>
              <a:rPr sz="1400">
                <a:solidFill>
                  <a:srgbClr val="28313F"/>
                </a:solidFill>
                <a:latin typeface="Roboto Bold"/>
              </a:rPr>
              <a:t>segmentos </a:t>
            </a:r>
            <a:r>
              <a:rPr sz="1400" b="0" i="0" u="none">
                <a:solidFill>
                  <a:srgbClr val="28313F"/>
                </a:solidFill>
                <a:latin typeface="Roboto Bold"/>
              </a:rPr>
              <a:t>objetivo</a:t>
            </a:r>
          </a:p>
          <a:p>
            <a:pPr marL="180000" indent="-180000" defTabSz="914400">
              <a:spcBef>
                <a:spcPts val="336"/>
              </a:spcBef>
              <a:buFont typeface="Arial" panose="020B0604020202020204" pitchFamily="34" charset="0"/>
              <a:buChar char="•"/>
              <a:defRPr/>
            </a:pPr>
            <a:r>
              <a:rPr sz="1400">
                <a:solidFill>
                  <a:srgbClr val="28313F"/>
                </a:solidFill>
                <a:latin typeface="Roboto Light"/>
              </a:rPr>
              <a:t>Industrias</a:t>
            </a:r>
          </a:p>
          <a:p>
            <a:pPr marL="180000" indent="-180000" defTabSz="914400">
              <a:spcBef>
                <a:spcPts val="336"/>
              </a:spcBef>
              <a:buFont typeface="Arial" panose="020B0604020202020204" pitchFamily="34" charset="0"/>
              <a:buChar char="•"/>
              <a:defRPr/>
            </a:pPr>
            <a:r>
              <a:rPr sz="1400">
                <a:solidFill>
                  <a:srgbClr val="28313F"/>
                </a:solidFill>
                <a:latin typeface="Roboto Light"/>
              </a:rPr>
              <a:t>Automotriz</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Agricultura</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Construcción e infraestructura</a:t>
            </a:r>
          </a:p>
          <a:p>
            <a:pPr marL="198000" marR="0" lvl="0" indent="0" algn="l" defTabSz="914400" rtl="0" eaLnBrk="1" fontAlgn="auto" latinLnBrk="0" hangingPunct="1">
              <a:lnSpc>
                <a:spcPct val="100000"/>
              </a:lnSpc>
              <a:spcBef>
                <a:spcPts val="336"/>
              </a:spcBef>
              <a:spcAft>
                <a:spcPts val="0"/>
              </a:spcAft>
              <a:buClrTx/>
              <a:buSzTx/>
              <a:buFontTx/>
              <a:buNone/>
              <a:tabLst/>
              <a:defRPr/>
            </a:pPr>
            <a:endParaRPr lang="en-GB" sz="1400" noProof="0" dirty="0">
              <a:solidFill>
                <a:srgbClr val="28313F"/>
              </a:solidFill>
              <a:latin typeface="Roboto Light" panose="02000000000000000000" pitchFamily="2" charset="0"/>
              <a:ea typeface="Roboto Light" panose="02000000000000000000" pitchFamily="2" charset="0"/>
            </a:endParaRPr>
          </a:p>
          <a:p>
            <a:pPr marR="0" indent="0" algn="l" defTabSz="914400" rtl="0" eaLnBrk="1" fontAlgn="auto" latinLnBrk="0" hangingPunct="1">
              <a:lnSpc>
                <a:spcPct val="100000"/>
              </a:lnSpc>
              <a:spcBef>
                <a:spcPts val="336"/>
              </a:spcBef>
              <a:spcAft>
                <a:spcPts val="0"/>
              </a:spcAft>
              <a:buClrTx/>
              <a:buSzTx/>
              <a:buFontTx/>
              <a:buNone/>
              <a:tabLst/>
              <a:defRPr/>
            </a:pPr>
            <a:r>
              <a:rPr sz="1400" b="0" i="0" u="none">
                <a:solidFill>
                  <a:srgbClr val="28313F"/>
                </a:solidFill>
                <a:latin typeface="Roboto Bold"/>
              </a:rPr>
              <a:t>Aplicaciones clave y trabajos por realizar (JTBD)</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Limpieza de vehículos</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Limpieza de equipos</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Superficies</a:t>
            </a:r>
          </a:p>
          <a:p>
            <a:pPr marL="180000" marR="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sz="1400" b="0" i="0" u="none">
                <a:solidFill>
                  <a:srgbClr val="28313F"/>
                </a:solidFill>
                <a:latin typeface="Roboto Light"/>
              </a:rPr>
              <a:t>Tareas de limpieza que implican la eliminación de aceites y gras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endParaRPr>
          </a:p>
        </p:txBody>
      </p:sp>
      <p:pic>
        <p:nvPicPr>
          <p:cNvPr id="11" name="Picture 10">
            <a:extLst>
              <a:ext uri="{FF2B5EF4-FFF2-40B4-BE49-F238E27FC236}">
                <a16:creationId xmlns:a16="http://schemas.microsoft.com/office/drawing/2014/main" id="{C0667396-3317-BF72-A5AA-A7ED80980A29}"/>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6200775" y="0"/>
            <a:ext cx="5991225" cy="6273800"/>
          </a:xfrm>
          <a:prstGeom prst="rect">
            <a:avLst/>
          </a:prstGeom>
        </p:spPr>
      </p:pic>
    </p:spTree>
    <p:extLst>
      <p:ext uri="{BB962C8B-B14F-4D97-AF65-F5344CB8AC3E}">
        <p14:creationId xmlns:p14="http://schemas.microsoft.com/office/powerpoint/2010/main" val="13946506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02F75DF-E720-BABB-1380-AC33910BCC33}"/>
              </a:ext>
            </a:extLst>
          </p:cNvPr>
          <p:cNvSpPr>
            <a:spLocks noGrp="1"/>
          </p:cNvSpPr>
          <p:nvPr>
            <p:ph type="ftr" sz="quarter" idx="19"/>
          </p:nvPr>
        </p:nvSpPr>
        <p:spPr/>
        <p:txBody>
          <a:bodyPr/>
          <a:lstStyle/>
          <a:p>
            <a:pPr algn="l"/>
            <a:r>
              <a:t>INFORMACIÓN CONFIDENCIAL DE LA EMPRESA</a:t>
            </a:r>
          </a:p>
        </p:txBody>
      </p:sp>
      <p:sp>
        <p:nvSpPr>
          <p:cNvPr id="3" name="Slide Number Placeholder 2">
            <a:extLst>
              <a:ext uri="{FF2B5EF4-FFF2-40B4-BE49-F238E27FC236}">
                <a16:creationId xmlns:a16="http://schemas.microsoft.com/office/drawing/2014/main" id="{57EE8784-BD13-CCF2-A048-DEA08E8E9DBA}"/>
              </a:ext>
            </a:extLst>
          </p:cNvPr>
          <p:cNvSpPr>
            <a:spLocks noGrp="1"/>
          </p:cNvSpPr>
          <p:nvPr>
            <p:ph type="sldNum" sz="quarter" idx="20"/>
          </p:nvPr>
        </p:nvSpPr>
        <p:spPr/>
        <p:txBody>
          <a:bodyPr/>
          <a:lstStyle/>
          <a:p>
            <a:fld id="{6C385236-B7BA-4938-9EA6-6DEC8CA653D7}" type="slidenum">
              <a:rPr lang="en-GB" noProof="0" smtClean="0"/>
              <a:pPr/>
              <a:t>9</a:t>
            </a:fld>
            <a:endParaRPr lang="en-GB" noProof="0" dirty="0"/>
          </a:p>
        </p:txBody>
      </p:sp>
      <p:sp>
        <p:nvSpPr>
          <p:cNvPr id="4" name="Text Placeholder 3">
            <a:extLst>
              <a:ext uri="{FF2B5EF4-FFF2-40B4-BE49-F238E27FC236}">
                <a16:creationId xmlns:a16="http://schemas.microsoft.com/office/drawing/2014/main" id="{110F091D-F5EC-0FBD-3A16-0C369B0FD87D}"/>
              </a:ext>
            </a:extLst>
          </p:cNvPr>
          <p:cNvSpPr>
            <a:spLocks noGrp="1"/>
          </p:cNvSpPr>
          <p:nvPr>
            <p:ph type="body" sz="quarter" idx="14"/>
          </p:nvPr>
        </p:nvSpPr>
        <p:spPr/>
        <p:txBody>
          <a:bodyPr/>
          <a:lstStyle/>
          <a:p>
            <a:r>
              <a:t>Diseñado para ofrecer un rendimiento excepcional en todos los segmentos</a:t>
            </a:r>
          </a:p>
        </p:txBody>
      </p:sp>
      <p:sp>
        <p:nvSpPr>
          <p:cNvPr id="5" name="Title 4">
            <a:extLst>
              <a:ext uri="{FF2B5EF4-FFF2-40B4-BE49-F238E27FC236}">
                <a16:creationId xmlns:a16="http://schemas.microsoft.com/office/drawing/2014/main" id="{FEF173F5-9ED1-B75B-2F22-13115B9F2A0D}"/>
              </a:ext>
            </a:extLst>
          </p:cNvPr>
          <p:cNvSpPr>
            <a:spLocks noGrp="1"/>
          </p:cNvSpPr>
          <p:nvPr>
            <p:ph type="title"/>
          </p:nvPr>
        </p:nvSpPr>
        <p:spPr/>
        <p:txBody>
          <a:bodyPr/>
          <a:lstStyle/>
          <a:p>
            <a:r>
              <a:t>Gama MH</a:t>
            </a:r>
          </a:p>
        </p:txBody>
      </p:sp>
      <p:sp>
        <p:nvSpPr>
          <p:cNvPr id="7" name="TextBox 6">
            <a:extLst>
              <a:ext uri="{FF2B5EF4-FFF2-40B4-BE49-F238E27FC236}">
                <a16:creationId xmlns:a16="http://schemas.microsoft.com/office/drawing/2014/main" id="{3C7019D1-C7DA-D712-6F75-D18566D1D163}"/>
              </a:ext>
            </a:extLst>
          </p:cNvPr>
          <p:cNvSpPr txBox="1"/>
          <p:nvPr/>
        </p:nvSpPr>
        <p:spPr>
          <a:xfrm>
            <a:off x="404544" y="1250333"/>
            <a:ext cx="11608841" cy="584775"/>
          </a:xfrm>
          <a:prstGeom prst="rect">
            <a:avLst/>
          </a:prstGeom>
          <a:noFill/>
        </p:spPr>
        <p:txBody>
          <a:bodyPr wrap="square">
            <a:spAutoFit/>
          </a:bodyPr>
          <a:lstStyle/>
          <a:p>
            <a:r>
              <a:rPr sz="1600"/>
              <a:t>Cada industria tiene necesidades únicas. La gama MH ofrece una selección versátil de motores y bombas en distintos tamaños, diseñados para funcionar durante diversos periodos de tiempo. Sin concesiones, solo precisión.</a:t>
            </a:r>
          </a:p>
        </p:txBody>
      </p:sp>
      <p:sp>
        <p:nvSpPr>
          <p:cNvPr id="9" name="TextBox 8">
            <a:extLst>
              <a:ext uri="{FF2B5EF4-FFF2-40B4-BE49-F238E27FC236}">
                <a16:creationId xmlns:a16="http://schemas.microsoft.com/office/drawing/2014/main" id="{D21DF21A-BD47-D30B-DE9D-0B20962C767B}"/>
              </a:ext>
            </a:extLst>
          </p:cNvPr>
          <p:cNvSpPr txBox="1"/>
          <p:nvPr/>
        </p:nvSpPr>
        <p:spPr>
          <a:xfrm>
            <a:off x="416381" y="4527469"/>
            <a:ext cx="2899251" cy="1569660"/>
          </a:xfrm>
          <a:prstGeom prst="rect">
            <a:avLst/>
          </a:prstGeom>
          <a:noFill/>
        </p:spPr>
        <p:txBody>
          <a:bodyPr wrap="square">
            <a:spAutoFit/>
          </a:bodyPr>
          <a:lstStyle/>
          <a:p>
            <a:r>
              <a:rPr sz="1200" b="1"/>
              <a:t>Automotriz</a:t>
            </a:r>
          </a:p>
          <a:p>
            <a:r>
              <a:rPr sz="1200"/>
              <a:t>Las bombas de alto rendimiento y la dosificación precisa de detergente hacen que la gama MH sea ideal para limpiar camiones y remolques, desengrasar piezas, limpiar motores y suelos de talleres, garantizando resultados impecables con un mínimo desperdicio y máxima eficiencia.</a:t>
            </a:r>
          </a:p>
        </p:txBody>
      </p:sp>
      <p:sp>
        <p:nvSpPr>
          <p:cNvPr id="10" name="TextBox 9">
            <a:extLst>
              <a:ext uri="{FF2B5EF4-FFF2-40B4-BE49-F238E27FC236}">
                <a16:creationId xmlns:a16="http://schemas.microsoft.com/office/drawing/2014/main" id="{9298698D-EC91-A5F9-F9F1-5F231FFE8207}"/>
              </a:ext>
            </a:extLst>
          </p:cNvPr>
          <p:cNvSpPr txBox="1"/>
          <p:nvPr/>
        </p:nvSpPr>
        <p:spPr>
          <a:xfrm>
            <a:off x="3315632" y="4527470"/>
            <a:ext cx="2899251" cy="1384995"/>
          </a:xfrm>
          <a:prstGeom prst="rect">
            <a:avLst/>
          </a:prstGeom>
          <a:noFill/>
        </p:spPr>
        <p:txBody>
          <a:bodyPr wrap="square">
            <a:spAutoFit/>
          </a:bodyPr>
          <a:lstStyle/>
          <a:p>
            <a:r>
              <a:rPr sz="1200" b="1"/>
              <a:t>Agricultura</a:t>
            </a:r>
          </a:p>
          <a:p>
            <a:r>
              <a:rPr sz="1200"/>
              <a:t>Con opciones de bombas de gran capacidad, componentes robustos y largos tiempos de funcionamiento, la gama MH afronta tareas de limpieza exigentes durante todo el día en maquinaria, equipos y áreas para animales, mejorando la higiene y reduciendo los tiempos de inactividad en entornos industriales y agrícolas.</a:t>
            </a:r>
          </a:p>
        </p:txBody>
      </p:sp>
      <p:sp>
        <p:nvSpPr>
          <p:cNvPr id="11" name="TextBox 10">
            <a:extLst>
              <a:ext uri="{FF2B5EF4-FFF2-40B4-BE49-F238E27FC236}">
                <a16:creationId xmlns:a16="http://schemas.microsoft.com/office/drawing/2014/main" id="{E4493ED1-1233-147D-99FC-EB8DC8798A1C}"/>
              </a:ext>
            </a:extLst>
          </p:cNvPr>
          <p:cNvSpPr txBox="1"/>
          <p:nvPr/>
        </p:nvSpPr>
        <p:spPr>
          <a:xfrm>
            <a:off x="6214883" y="4527471"/>
            <a:ext cx="2899251" cy="1384995"/>
          </a:xfrm>
          <a:prstGeom prst="rect">
            <a:avLst/>
          </a:prstGeom>
          <a:noFill/>
        </p:spPr>
        <p:txBody>
          <a:bodyPr wrap="square">
            <a:spAutoFit/>
          </a:bodyPr>
          <a:lstStyle/>
          <a:p>
            <a:r>
              <a:rPr sz="1200" b="1"/>
              <a:t>Construcción y edificación</a:t>
            </a:r>
          </a:p>
          <a:p>
            <a:r>
              <a:rPr sz="1200"/>
              <a:t>Diseñada con una interfaz resistente e impermeable y preajustes de cambio rápido, la gama MH soporta entornos exigentes y un uso intensivo, eliminando fácilmente concreto, suciedad y escombros, y ahorrando tiempo en el lugar de trabajo.</a:t>
            </a:r>
          </a:p>
        </p:txBody>
      </p:sp>
      <p:sp>
        <p:nvSpPr>
          <p:cNvPr id="12" name="TextBox 11">
            <a:extLst>
              <a:ext uri="{FF2B5EF4-FFF2-40B4-BE49-F238E27FC236}">
                <a16:creationId xmlns:a16="http://schemas.microsoft.com/office/drawing/2014/main" id="{3D54D392-2D9B-FFCF-9397-CE336DCE8614}"/>
              </a:ext>
            </a:extLst>
          </p:cNvPr>
          <p:cNvSpPr txBox="1"/>
          <p:nvPr/>
        </p:nvSpPr>
        <p:spPr>
          <a:xfrm>
            <a:off x="9229538" y="4527468"/>
            <a:ext cx="2899251" cy="1384995"/>
          </a:xfrm>
          <a:prstGeom prst="rect">
            <a:avLst/>
          </a:prstGeom>
          <a:noFill/>
        </p:spPr>
        <p:txBody>
          <a:bodyPr wrap="square">
            <a:spAutoFit/>
          </a:bodyPr>
          <a:lstStyle/>
          <a:p>
            <a:r>
              <a:rPr sz="1200" b="1"/>
              <a:t>La </a:t>
            </a:r>
            <a:r>
              <a:rPr sz="1200"/>
              <a:t>presión optimizada para la industria, la alta temperatura y el diseño duradero hacen que la gama MH sea ideal para la limpieza de contenedores, carretillas elevadoras y maquinaria industrial, eliminando suciedad pesada y aceite con un mínimo de residuos y máximo </a:t>
            </a:r>
            <a:r>
              <a:rPr sz="1200" b="1"/>
              <a:t>tiempo de actividad.</a:t>
            </a:r>
            <a:endParaRPr lang="en-GB" sz="1200" noProof="0" dirty="0"/>
          </a:p>
        </p:txBody>
      </p:sp>
      <p:pic>
        <p:nvPicPr>
          <p:cNvPr id="8" name="Picture 7" descr="A person washing a tractor&#10;&#10;AI-generated content may be incorrect.">
            <a:extLst>
              <a:ext uri="{FF2B5EF4-FFF2-40B4-BE49-F238E27FC236}">
                <a16:creationId xmlns:a16="http://schemas.microsoft.com/office/drawing/2014/main" id="{60CC8E08-4B82-C022-D0D5-EC2077F1374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404508" y="2375681"/>
            <a:ext cx="2520000" cy="1680744"/>
          </a:xfrm>
          <a:prstGeom prst="rect">
            <a:avLst/>
          </a:prstGeom>
        </p:spPr>
      </p:pic>
      <p:pic>
        <p:nvPicPr>
          <p:cNvPr id="15" name="Picture 14" descr="A person cleaning a truck with a vacuum cleaner&#10;&#10;AI-generated content may be incorrect.">
            <a:extLst>
              <a:ext uri="{FF2B5EF4-FFF2-40B4-BE49-F238E27FC236}">
                <a16:creationId xmlns:a16="http://schemas.microsoft.com/office/drawing/2014/main" id="{7B6BCEA5-25F8-46BE-0FD7-51AC4FFA387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88551" y="2375681"/>
            <a:ext cx="2520000" cy="1680706"/>
          </a:xfrm>
          <a:prstGeom prst="rect">
            <a:avLst/>
          </a:prstGeom>
        </p:spPr>
      </p:pic>
      <p:pic>
        <p:nvPicPr>
          <p:cNvPr id="23" name="Picture 22" descr="A person in orange and black overalls spraying water on a yellow container&#10;&#10;AI-generated content may be incorrect.">
            <a:extLst>
              <a:ext uri="{FF2B5EF4-FFF2-40B4-BE49-F238E27FC236}">
                <a16:creationId xmlns:a16="http://schemas.microsoft.com/office/drawing/2014/main" id="{190102A7-CC2C-B5F6-CBB9-67EAFF4AD2E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298734" y="2375681"/>
            <a:ext cx="2520000" cy="1680763"/>
          </a:xfrm>
          <a:prstGeom prst="rect">
            <a:avLst/>
          </a:prstGeom>
        </p:spPr>
      </p:pic>
      <p:pic>
        <p:nvPicPr>
          <p:cNvPr id="13" name="Picture 12" descr="A person spraying water on a machine&#10;&#10;AI-generated content may be incorrect.">
            <a:extLst>
              <a:ext uri="{FF2B5EF4-FFF2-40B4-BE49-F238E27FC236}">
                <a16:creationId xmlns:a16="http://schemas.microsoft.com/office/drawing/2014/main" id="{B29780C6-3254-2916-7A12-CEE8B3EA467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510282" y="2398027"/>
            <a:ext cx="2520000" cy="1680857"/>
          </a:xfrm>
          <a:prstGeom prst="rect">
            <a:avLst/>
          </a:prstGeom>
        </p:spPr>
      </p:pic>
    </p:spTree>
    <p:extLst>
      <p:ext uri="{BB962C8B-B14F-4D97-AF65-F5344CB8AC3E}">
        <p14:creationId xmlns:p14="http://schemas.microsoft.com/office/powerpoint/2010/main" val="15594791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9LXJl66Ty2TO19_oTx4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ZoIFoBeg4kuf55HFBJq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HwEDwu9gEI.LCPXTuVR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BdA61j6s7qyjKgG_HRT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ZaP7MZqCmVh3l9GQRra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M.e6NrSTyd7rn8ljGGD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2B.loBauLdxvwJrFZXw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vrRxWvjFwRQPkXeJ4x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7kMS52XLVHSpIqM4eyT6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vljKXMLr6gyHdBhMS7i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s1SmZOR4vWqLka5PwCp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mpUj.JVCXzqwKKyNH7N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tZsW9ej2LFlTPAB9ZJS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dITBojpaelEWDC52o6S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YA8o06M5lHEJIOAgnZK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HwEDwu9gEI.LCPXTuVR_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1_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ACC8E258210344A9FE922C0D29B270" ma:contentTypeVersion="16" ma:contentTypeDescription="Create a new document." ma:contentTypeScope="" ma:versionID="fd3e101f2f353f33feb8971ae4ec86b6">
  <xsd:schema xmlns:xsd="http://www.w3.org/2001/XMLSchema" xmlns:xs="http://www.w3.org/2001/XMLSchema" xmlns:p="http://schemas.microsoft.com/office/2006/metadata/properties" xmlns:ns2="6903b321-3545-4bfc-b111-7702843b6d40" xmlns:ns3="c56df868-51cc-4d63-9bd1-3347174802f5" targetNamespace="http://schemas.microsoft.com/office/2006/metadata/properties" ma:root="true" ma:fieldsID="bda11954bd90cc8fa027111a30383823" ns2:_="" ns3:_="">
    <xsd:import namespace="6903b321-3545-4bfc-b111-7702843b6d40"/>
    <xsd:import namespace="c56df868-51cc-4d63-9bd1-3347174802f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03b321-3545-4bfc-b111-7702843b6d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6df868-51cc-4d63-9bd1-3347174802f5"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7cfb0581-86ba-4f70-b3d8-e2806a0a35f0}" ma:internalName="TaxCatchAll" ma:showField="CatchAllData" ma:web="c56df868-51cc-4d63-9bd1-3347174802f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56df868-51cc-4d63-9bd1-3347174802f5" xsi:nil="true"/>
    <lcf76f155ced4ddcb4097134ff3c332f xmlns="6903b321-3545-4bfc-b111-7702843b6d4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6EE4-B6C7-46F2-BBA8-35A1DEE0D1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03b321-3545-4bfc-b111-7702843b6d40"/>
    <ds:schemaRef ds:uri="c56df868-51cc-4d63-9bd1-3347174802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2035D97F-54F6-4139-90B1-4BC360E16E53}">
  <ds:schemaRefs>
    <ds:schemaRef ds:uri="http://purl.org/dc/terms/"/>
    <ds:schemaRef ds:uri="http://schemas.microsoft.com/office/infopath/2007/PartnerControls"/>
    <ds:schemaRef ds:uri="http://www.w3.org/XML/1998/namespace"/>
    <ds:schemaRef ds:uri="http://schemas.microsoft.com/office/2006/documentManagement/types"/>
    <ds:schemaRef ds:uri="http://purl.org/dc/elements/1.1/"/>
    <ds:schemaRef ds:uri="http://schemas.openxmlformats.org/package/2006/metadata/core-properties"/>
    <ds:schemaRef ds:uri="9a261087-ddb5-4fc3-ae00-ca27a6304815"/>
    <ds:schemaRef ds:uri="101d09d1-2fba-4d93-a45c-1211151ee786"/>
    <ds:schemaRef ds:uri="http://schemas.microsoft.com/office/2006/metadata/properties"/>
    <ds:schemaRef ds:uri="http://purl.org/dc/dcmitype/"/>
    <ds:schemaRef ds:uri="c56df868-51cc-4d63-9bd1-3347174802f5"/>
    <ds:schemaRef ds:uri="6903b321-3545-4bfc-b111-7702843b6d40"/>
  </ds:schemaRefs>
</ds:datastoreItem>
</file>

<file path=docProps/app.xml><?xml version="1.0" encoding="utf-8"?>
<Properties xmlns="http://schemas.openxmlformats.org/officeDocument/2006/extended-properties" xmlns:vt="http://schemas.openxmlformats.org/officeDocument/2006/docPropsVTypes">
  <Template>blank</Template>
  <TotalTime>4530</TotalTime>
  <Words>7142</Words>
  <Application>Microsoft Office PowerPoint</Application>
  <PresentationFormat>Panorámica</PresentationFormat>
  <Paragraphs>2135</Paragraphs>
  <Slides>54</Slides>
  <Notes>7</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54</vt:i4>
      </vt:variant>
    </vt:vector>
  </HeadingPairs>
  <TitlesOfParts>
    <vt:vector size="67" baseType="lpstr">
      <vt:lpstr>Arial</vt:lpstr>
      <vt:lpstr>Calibri</vt:lpstr>
      <vt:lpstr>Courier New</vt:lpstr>
      <vt:lpstr>Roboto</vt:lpstr>
      <vt:lpstr>Roboto Black</vt:lpstr>
      <vt:lpstr>Roboto Bold</vt:lpstr>
      <vt:lpstr>Roboto Light</vt:lpstr>
      <vt:lpstr>Roboto Medium</vt:lpstr>
      <vt:lpstr>Segoe MDL2 Assets</vt:lpstr>
      <vt:lpstr>Wingdings</vt:lpstr>
      <vt:lpstr>Nilfisk Toolbox_Standard_4-3</vt:lpstr>
      <vt:lpstr>1_Nilfisk Toolbox_Standard_4-3</vt:lpstr>
      <vt:lpstr>think-cell Slide</vt:lpstr>
      <vt:lpstr>Nueva gama MH: Presentación comercial</vt:lpstr>
      <vt:lpstr>Agenda</vt:lpstr>
      <vt:lpstr>1</vt:lpstr>
      <vt:lpstr>Propuesta de valor</vt:lpstr>
      <vt:lpstr>2</vt:lpstr>
      <vt:lpstr>Presentación de PowerPoint</vt:lpstr>
      <vt:lpstr>3</vt:lpstr>
      <vt:lpstr>Segmentos objetivo</vt:lpstr>
      <vt:lpstr>Gama MH</vt:lpstr>
      <vt:lpstr>4</vt:lpstr>
      <vt:lpstr>Diseñados y fabricados para rendir al máximo</vt:lpstr>
      <vt:lpstr>Lanzamiento y estrategia de denominación de la nueva gama MH</vt:lpstr>
      <vt:lpstr>Nuevas prestaciones y mejoras</vt:lpstr>
      <vt:lpstr>Gamas avanzadas y estándar</vt:lpstr>
      <vt:lpstr>Avanzado vs. Estándar</vt:lpstr>
      <vt:lpstr>MH35-85</vt:lpstr>
      <vt:lpstr>MH35-85</vt:lpstr>
      <vt:lpstr>Interfaz de usuario mejorada</vt:lpstr>
      <vt:lpstr>Interfaz de usuario mejorada</vt:lpstr>
      <vt:lpstr>Interfaz de usuario mejorada</vt:lpstr>
      <vt:lpstr>Actualización de la interfaz de usuario</vt:lpstr>
      <vt:lpstr>Interfaz de usuario mejorada</vt:lpstr>
      <vt:lpstr>MH20-70</vt:lpstr>
      <vt:lpstr>MH20-70</vt:lpstr>
      <vt:lpstr>Interfaz de usuario mejorada</vt:lpstr>
      <vt:lpstr>5</vt:lpstr>
      <vt:lpstr>Ajustes predefinidos para una limpieza eficiente</vt:lpstr>
      <vt:lpstr>Diseñada para la eficiencia</vt:lpstr>
      <vt:lpstr>La compatibilidad con biocombustibles y la eficiencia energética ayudan a nuestros clientes en ahorrar dinero.</vt:lpstr>
      <vt:lpstr>Al cambiar a biocombustibles se reduce la huella de carbono en el uso de equipos de agua a alta presión.</vt:lpstr>
      <vt:lpstr>Caldera de alta eficiencia aprobada</vt:lpstr>
      <vt:lpstr>6</vt:lpstr>
      <vt:lpstr>Aplicación de Servicio</vt:lpstr>
      <vt:lpstr>7</vt:lpstr>
      <vt:lpstr>Patentes</vt:lpstr>
      <vt:lpstr>8</vt:lpstr>
      <vt:lpstr>Gama MH</vt:lpstr>
      <vt:lpstr>La gama MH</vt:lpstr>
      <vt:lpstr>Ventajas clave del producto</vt:lpstr>
      <vt:lpstr>9</vt:lpstr>
      <vt:lpstr>MH35</vt:lpstr>
      <vt:lpstr>MH45</vt:lpstr>
      <vt:lpstr>MH55</vt:lpstr>
      <vt:lpstr>MH35</vt:lpstr>
      <vt:lpstr>MH45</vt:lpstr>
      <vt:lpstr>MH55</vt:lpstr>
      <vt:lpstr>MH30-50</vt:lpstr>
      <vt:lpstr>Presentación de PowerPoint</vt:lpstr>
      <vt:lpstr>10</vt:lpstr>
      <vt:lpstr>MH35</vt:lpstr>
      <vt:lpstr>MH45</vt:lpstr>
      <vt:lpstr>MH55</vt:lpstr>
      <vt:lpstr>MH30-50</vt:lpstr>
      <vt:lpstr>PA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Andreas Hagbarth</dc:creator>
  <cp:lastModifiedBy>Adrián Bora</cp:lastModifiedBy>
  <cp:revision>9</cp:revision>
  <dcterms:created xsi:type="dcterms:W3CDTF">2023-03-13T09:19:29Z</dcterms:created>
  <dcterms:modified xsi:type="dcterms:W3CDTF">2026-02-23T07: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66ACC8E258210344A9FE922C0D29B270</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ies>
</file>